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7"/>
  </p:notesMasterIdLst>
  <p:sldIdLst>
    <p:sldId id="256" r:id="rId2"/>
    <p:sldId id="289" r:id="rId3"/>
    <p:sldId id="294" r:id="rId4"/>
    <p:sldId id="296" r:id="rId5"/>
    <p:sldId id="301" r:id="rId6"/>
  </p:sldIdLst>
  <p:sldSz cx="12192000" cy="6858000"/>
  <p:notesSz cx="6858000" cy="9144000"/>
  <p:custDataLst>
    <p:tags r:id="rId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B534"/>
    <a:srgbClr val="FFDA93"/>
    <a:srgbClr val="A20000"/>
    <a:srgbClr val="A40000"/>
    <a:srgbClr val="9E0000"/>
    <a:srgbClr val="C7450B"/>
    <a:srgbClr val="E24E0C"/>
    <a:srgbClr val="DC6140"/>
    <a:srgbClr val="E60000"/>
    <a:srgbClr val="C967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6182" autoAdjust="0"/>
  </p:normalViewPr>
  <p:slideViewPr>
    <p:cSldViewPr snapToGrid="0">
      <p:cViewPr varScale="1">
        <p:scale>
          <a:sx n="100" d="100"/>
          <a:sy n="100" d="100"/>
        </p:scale>
        <p:origin x="78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-9-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D56D74-392A-40C6-828E-4A65DCBB52AE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66224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3">
            <a:extLst>
              <a:ext uri="{FF2B5EF4-FFF2-40B4-BE49-F238E27FC236}">
                <a16:creationId xmlns:a16="http://schemas.microsoft.com/office/drawing/2014/main" id="{7DBDCCB6-3C6B-4C09-BD58-5A245BAF94B4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-1588"/>
            <a:ext cx="12192000" cy="6851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3A7B93C7-58E4-4A6D-B8F0-FB33302BAFD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3588" cy="68516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433B8CC1-42DD-4BAD-86A1-182FC436D30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73088" y="698500"/>
            <a:ext cx="11047413" cy="545465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88C2AD64-28FF-4D5A-A46F-AFFC84E3716F}"/>
              </a:ext>
            </a:extLst>
          </p:cNvPr>
          <p:cNvSpPr>
            <a:spLocks/>
          </p:cNvSpPr>
          <p:nvPr userDrawn="1"/>
        </p:nvSpPr>
        <p:spPr bwMode="auto">
          <a:xfrm>
            <a:off x="11542713" y="665162"/>
            <a:ext cx="650875" cy="2841625"/>
          </a:xfrm>
          <a:custGeom>
            <a:avLst/>
            <a:gdLst>
              <a:gd name="T0" fmla="*/ 342 w 342"/>
              <a:gd name="T1" fmla="*/ 22 h 1493"/>
              <a:gd name="T2" fmla="*/ 321 w 342"/>
              <a:gd name="T3" fmla="*/ 0 h 1493"/>
              <a:gd name="T4" fmla="*/ 289 w 342"/>
              <a:gd name="T5" fmla="*/ 37 h 1493"/>
              <a:gd name="T6" fmla="*/ 202 w 342"/>
              <a:gd name="T7" fmla="*/ 148 h 1493"/>
              <a:gd name="T8" fmla="*/ 87 w 342"/>
              <a:gd name="T9" fmla="*/ 347 h 1493"/>
              <a:gd name="T10" fmla="*/ 10 w 342"/>
              <a:gd name="T11" fmla="*/ 651 h 1493"/>
              <a:gd name="T12" fmla="*/ 55 w 342"/>
              <a:gd name="T13" fmla="*/ 1005 h 1493"/>
              <a:gd name="T14" fmla="*/ 214 w 342"/>
              <a:gd name="T15" fmla="*/ 1320 h 1493"/>
              <a:gd name="T16" fmla="*/ 342 w 342"/>
              <a:gd name="T17" fmla="*/ 1493 h 1493"/>
              <a:gd name="T18" fmla="*/ 342 w 342"/>
              <a:gd name="T19" fmla="*/ 22 h 1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42" h="1493">
                <a:moveTo>
                  <a:pt x="342" y="22"/>
                </a:moveTo>
                <a:cubicBezTo>
                  <a:pt x="321" y="0"/>
                  <a:pt x="321" y="0"/>
                  <a:pt x="321" y="0"/>
                </a:cubicBezTo>
                <a:cubicBezTo>
                  <a:pt x="321" y="0"/>
                  <a:pt x="310" y="13"/>
                  <a:pt x="289" y="37"/>
                </a:cubicBezTo>
                <a:cubicBezTo>
                  <a:pt x="268" y="61"/>
                  <a:pt x="238" y="98"/>
                  <a:pt x="202" y="148"/>
                </a:cubicBezTo>
                <a:cubicBezTo>
                  <a:pt x="166" y="198"/>
                  <a:pt x="125" y="264"/>
                  <a:pt x="87" y="347"/>
                </a:cubicBezTo>
                <a:cubicBezTo>
                  <a:pt x="50" y="430"/>
                  <a:pt x="18" y="535"/>
                  <a:pt x="10" y="651"/>
                </a:cubicBezTo>
                <a:cubicBezTo>
                  <a:pt x="0" y="767"/>
                  <a:pt x="18" y="891"/>
                  <a:pt x="55" y="1005"/>
                </a:cubicBezTo>
                <a:cubicBezTo>
                  <a:pt x="94" y="1119"/>
                  <a:pt x="150" y="1224"/>
                  <a:pt x="214" y="1320"/>
                </a:cubicBezTo>
                <a:cubicBezTo>
                  <a:pt x="254" y="1381"/>
                  <a:pt x="297" y="1438"/>
                  <a:pt x="342" y="1493"/>
                </a:cubicBezTo>
                <a:lnTo>
                  <a:pt x="342" y="2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1778E69B-16C1-4F37-96EB-5F60FF0ACAC4}"/>
              </a:ext>
            </a:extLst>
          </p:cNvPr>
          <p:cNvSpPr>
            <a:spLocks/>
          </p:cNvSpPr>
          <p:nvPr userDrawn="1"/>
        </p:nvSpPr>
        <p:spPr bwMode="auto">
          <a:xfrm>
            <a:off x="10371138" y="1319212"/>
            <a:ext cx="1822450" cy="3065463"/>
          </a:xfrm>
          <a:custGeom>
            <a:avLst/>
            <a:gdLst>
              <a:gd name="T0" fmla="*/ 632 w 957"/>
              <a:gd name="T1" fmla="*/ 951 h 1611"/>
              <a:gd name="T2" fmla="*/ 511 w 957"/>
              <a:gd name="T3" fmla="*/ 760 h 1611"/>
              <a:gd name="T4" fmla="*/ 477 w 957"/>
              <a:gd name="T5" fmla="*/ 600 h 1611"/>
              <a:gd name="T6" fmla="*/ 549 w 957"/>
              <a:gd name="T7" fmla="*/ 374 h 1611"/>
              <a:gd name="T8" fmla="*/ 592 w 957"/>
              <a:gd name="T9" fmla="*/ 309 h 1611"/>
              <a:gd name="T10" fmla="*/ 609 w 957"/>
              <a:gd name="T11" fmla="*/ 286 h 1611"/>
              <a:gd name="T12" fmla="*/ 144 w 957"/>
              <a:gd name="T13" fmla="*/ 0 h 1611"/>
              <a:gd name="T14" fmla="*/ 124 w 957"/>
              <a:gd name="T15" fmla="*/ 41 h 1611"/>
              <a:gd name="T16" fmla="*/ 72 w 957"/>
              <a:gd name="T17" fmla="*/ 161 h 1611"/>
              <a:gd name="T18" fmla="*/ 17 w 957"/>
              <a:gd name="T19" fmla="*/ 368 h 1611"/>
              <a:gd name="T20" fmla="*/ 21 w 957"/>
              <a:gd name="T21" fmla="*/ 659 h 1611"/>
              <a:gd name="T22" fmla="*/ 147 w 957"/>
              <a:gd name="T23" fmla="*/ 966 h 1611"/>
              <a:gd name="T24" fmla="*/ 365 w 957"/>
              <a:gd name="T25" fmla="*/ 1212 h 1611"/>
              <a:gd name="T26" fmla="*/ 889 w 957"/>
              <a:gd name="T27" fmla="*/ 1571 h 1611"/>
              <a:gd name="T28" fmla="*/ 957 w 957"/>
              <a:gd name="T29" fmla="*/ 1611 h 1611"/>
              <a:gd name="T30" fmla="*/ 957 w 957"/>
              <a:gd name="T31" fmla="*/ 1272 h 1611"/>
              <a:gd name="T32" fmla="*/ 632 w 957"/>
              <a:gd name="T33" fmla="*/ 951 h 1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57" h="1611">
                <a:moveTo>
                  <a:pt x="632" y="951"/>
                </a:moveTo>
                <a:cubicBezTo>
                  <a:pt x="578" y="885"/>
                  <a:pt x="537" y="820"/>
                  <a:pt x="511" y="760"/>
                </a:cubicBezTo>
                <a:cubicBezTo>
                  <a:pt x="486" y="699"/>
                  <a:pt x="476" y="646"/>
                  <a:pt x="477" y="600"/>
                </a:cubicBezTo>
                <a:cubicBezTo>
                  <a:pt x="477" y="508"/>
                  <a:pt x="516" y="431"/>
                  <a:pt x="549" y="374"/>
                </a:cubicBezTo>
                <a:cubicBezTo>
                  <a:pt x="566" y="346"/>
                  <a:pt x="580" y="324"/>
                  <a:pt x="592" y="309"/>
                </a:cubicBezTo>
                <a:cubicBezTo>
                  <a:pt x="603" y="294"/>
                  <a:pt x="609" y="286"/>
                  <a:pt x="609" y="286"/>
                </a:cubicBez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37" y="14"/>
                  <a:pt x="124" y="41"/>
                </a:cubicBezTo>
                <a:cubicBezTo>
                  <a:pt x="111" y="67"/>
                  <a:pt x="93" y="107"/>
                  <a:pt x="72" y="161"/>
                </a:cubicBezTo>
                <a:cubicBezTo>
                  <a:pt x="52" y="215"/>
                  <a:pt x="31" y="284"/>
                  <a:pt x="17" y="368"/>
                </a:cubicBezTo>
                <a:cubicBezTo>
                  <a:pt x="3" y="451"/>
                  <a:pt x="0" y="553"/>
                  <a:pt x="21" y="659"/>
                </a:cubicBezTo>
                <a:cubicBezTo>
                  <a:pt x="40" y="766"/>
                  <a:pt x="86" y="873"/>
                  <a:pt x="147" y="966"/>
                </a:cubicBezTo>
                <a:cubicBezTo>
                  <a:pt x="209" y="1059"/>
                  <a:pt x="284" y="1141"/>
                  <a:pt x="365" y="1212"/>
                </a:cubicBezTo>
                <a:cubicBezTo>
                  <a:pt x="528" y="1354"/>
                  <a:pt x="711" y="1465"/>
                  <a:pt x="889" y="1571"/>
                </a:cubicBezTo>
                <a:cubicBezTo>
                  <a:pt x="912" y="1584"/>
                  <a:pt x="934" y="1597"/>
                  <a:pt x="957" y="1611"/>
                </a:cubicBezTo>
                <a:cubicBezTo>
                  <a:pt x="957" y="1272"/>
                  <a:pt x="957" y="1272"/>
                  <a:pt x="957" y="1272"/>
                </a:cubicBezTo>
                <a:cubicBezTo>
                  <a:pt x="834" y="1165"/>
                  <a:pt x="719" y="1058"/>
                  <a:pt x="632" y="95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86FA4936-8283-440C-BA17-A6F64D2B60DE}"/>
              </a:ext>
            </a:extLst>
          </p:cNvPr>
          <p:cNvSpPr>
            <a:spLocks/>
          </p:cNvSpPr>
          <p:nvPr userDrawn="1"/>
        </p:nvSpPr>
        <p:spPr bwMode="auto">
          <a:xfrm>
            <a:off x="9313863" y="2249487"/>
            <a:ext cx="2879725" cy="2709863"/>
          </a:xfrm>
          <a:custGeom>
            <a:avLst/>
            <a:gdLst>
              <a:gd name="T0" fmla="*/ 753 w 1512"/>
              <a:gd name="T1" fmla="*/ 793 h 1424"/>
              <a:gd name="T2" fmla="*/ 587 w 1512"/>
              <a:gd name="T3" fmla="*/ 639 h 1424"/>
              <a:gd name="T4" fmla="*/ 512 w 1512"/>
              <a:gd name="T5" fmla="*/ 493 h 1424"/>
              <a:gd name="T6" fmla="*/ 523 w 1512"/>
              <a:gd name="T7" fmla="*/ 257 h 1424"/>
              <a:gd name="T8" fmla="*/ 548 w 1512"/>
              <a:gd name="T9" fmla="*/ 183 h 1424"/>
              <a:gd name="T10" fmla="*/ 558 w 1512"/>
              <a:gd name="T11" fmla="*/ 156 h 1424"/>
              <a:gd name="T12" fmla="*/ 36 w 1512"/>
              <a:gd name="T13" fmla="*/ 0 h 1424"/>
              <a:gd name="T14" fmla="*/ 27 w 1512"/>
              <a:gd name="T15" fmla="*/ 45 h 1424"/>
              <a:gd name="T16" fmla="*/ 8 w 1512"/>
              <a:gd name="T17" fmla="*/ 174 h 1424"/>
              <a:gd name="T18" fmla="*/ 8 w 1512"/>
              <a:gd name="T19" fmla="*/ 388 h 1424"/>
              <a:gd name="T20" fmla="*/ 87 w 1512"/>
              <a:gd name="T21" fmla="*/ 669 h 1424"/>
              <a:gd name="T22" fmla="*/ 289 w 1512"/>
              <a:gd name="T23" fmla="*/ 933 h 1424"/>
              <a:gd name="T24" fmla="*/ 563 w 1512"/>
              <a:gd name="T25" fmla="*/ 1114 h 1424"/>
              <a:gd name="T26" fmla="*/ 1162 w 1512"/>
              <a:gd name="T27" fmla="*/ 1325 h 1424"/>
              <a:gd name="T28" fmla="*/ 1512 w 1512"/>
              <a:gd name="T29" fmla="*/ 1424 h 1424"/>
              <a:gd name="T30" fmla="*/ 1512 w 1512"/>
              <a:gd name="T31" fmla="*/ 1189 h 1424"/>
              <a:gd name="T32" fmla="*/ 1256 w 1512"/>
              <a:gd name="T33" fmla="*/ 1069 h 1424"/>
              <a:gd name="T34" fmla="*/ 753 w 1512"/>
              <a:gd name="T35" fmla="*/ 793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512" h="1424">
                <a:moveTo>
                  <a:pt x="753" y="793"/>
                </a:moveTo>
                <a:cubicBezTo>
                  <a:pt x="684" y="743"/>
                  <a:pt x="628" y="690"/>
                  <a:pt x="587" y="639"/>
                </a:cubicBezTo>
                <a:cubicBezTo>
                  <a:pt x="547" y="587"/>
                  <a:pt x="523" y="539"/>
                  <a:pt x="512" y="493"/>
                </a:cubicBezTo>
                <a:cubicBezTo>
                  <a:pt x="489" y="405"/>
                  <a:pt x="506" y="320"/>
                  <a:pt x="523" y="257"/>
                </a:cubicBezTo>
                <a:cubicBezTo>
                  <a:pt x="532" y="226"/>
                  <a:pt x="541" y="200"/>
                  <a:pt x="548" y="183"/>
                </a:cubicBezTo>
                <a:cubicBezTo>
                  <a:pt x="555" y="166"/>
                  <a:pt x="558" y="156"/>
                  <a:pt x="558" y="156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3" y="16"/>
                  <a:pt x="27" y="45"/>
                </a:cubicBezTo>
                <a:cubicBezTo>
                  <a:pt x="21" y="74"/>
                  <a:pt x="14" y="117"/>
                  <a:pt x="8" y="174"/>
                </a:cubicBezTo>
                <a:cubicBezTo>
                  <a:pt x="2" y="232"/>
                  <a:pt x="0" y="304"/>
                  <a:pt x="8" y="388"/>
                </a:cubicBezTo>
                <a:cubicBezTo>
                  <a:pt x="17" y="473"/>
                  <a:pt x="40" y="572"/>
                  <a:pt x="87" y="669"/>
                </a:cubicBezTo>
                <a:cubicBezTo>
                  <a:pt x="133" y="767"/>
                  <a:pt x="205" y="858"/>
                  <a:pt x="289" y="933"/>
                </a:cubicBezTo>
                <a:cubicBezTo>
                  <a:pt x="373" y="1007"/>
                  <a:pt x="466" y="1066"/>
                  <a:pt x="563" y="1114"/>
                </a:cubicBezTo>
                <a:cubicBezTo>
                  <a:pt x="757" y="1209"/>
                  <a:pt x="962" y="1269"/>
                  <a:pt x="1162" y="1325"/>
                </a:cubicBezTo>
                <a:cubicBezTo>
                  <a:pt x="1281" y="1358"/>
                  <a:pt x="1399" y="1390"/>
                  <a:pt x="1512" y="1424"/>
                </a:cubicBezTo>
                <a:cubicBezTo>
                  <a:pt x="1512" y="1189"/>
                  <a:pt x="1512" y="1189"/>
                  <a:pt x="1512" y="1189"/>
                </a:cubicBezTo>
                <a:cubicBezTo>
                  <a:pt x="1427" y="1148"/>
                  <a:pt x="1341" y="1109"/>
                  <a:pt x="1256" y="1069"/>
                </a:cubicBezTo>
                <a:cubicBezTo>
                  <a:pt x="1072" y="983"/>
                  <a:pt x="891" y="894"/>
                  <a:pt x="753" y="79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8C3489CF-9CE2-4BC9-BCF9-943B70D8FE4B}"/>
              </a:ext>
            </a:extLst>
          </p:cNvPr>
          <p:cNvSpPr>
            <a:spLocks/>
          </p:cNvSpPr>
          <p:nvPr userDrawn="1"/>
        </p:nvSpPr>
        <p:spPr bwMode="auto">
          <a:xfrm>
            <a:off x="8402638" y="3478213"/>
            <a:ext cx="3790950" cy="1911350"/>
          </a:xfrm>
          <a:custGeom>
            <a:avLst/>
            <a:gdLst>
              <a:gd name="T0" fmla="*/ 898 w 1990"/>
              <a:gd name="T1" fmla="*/ 580 h 1005"/>
              <a:gd name="T2" fmla="*/ 697 w 1990"/>
              <a:gd name="T3" fmla="*/ 474 h 1005"/>
              <a:gd name="T4" fmla="*/ 588 w 1990"/>
              <a:gd name="T5" fmla="*/ 353 h 1005"/>
              <a:gd name="T6" fmla="*/ 537 w 1990"/>
              <a:gd name="T7" fmla="*/ 122 h 1005"/>
              <a:gd name="T8" fmla="*/ 542 w 1990"/>
              <a:gd name="T9" fmla="*/ 44 h 1005"/>
              <a:gd name="T10" fmla="*/ 545 w 1990"/>
              <a:gd name="T11" fmla="*/ 15 h 1005"/>
              <a:gd name="T12" fmla="*/ 0 w 1990"/>
              <a:gd name="T13" fmla="*/ 0 h 1005"/>
              <a:gd name="T14" fmla="*/ 3 w 1990"/>
              <a:gd name="T15" fmla="*/ 45 h 1005"/>
              <a:gd name="T16" fmla="*/ 18 w 1990"/>
              <a:gd name="T17" fmla="*/ 175 h 1005"/>
              <a:gd name="T18" fmla="*/ 73 w 1990"/>
              <a:gd name="T19" fmla="*/ 382 h 1005"/>
              <a:gd name="T20" fmla="*/ 222 w 1990"/>
              <a:gd name="T21" fmla="*/ 632 h 1005"/>
              <a:gd name="T22" fmla="*/ 485 w 1990"/>
              <a:gd name="T23" fmla="*/ 835 h 1005"/>
              <a:gd name="T24" fmla="*/ 797 w 1990"/>
              <a:gd name="T25" fmla="*/ 939 h 1005"/>
              <a:gd name="T26" fmla="*/ 1430 w 1990"/>
              <a:gd name="T27" fmla="*/ 988 h 1005"/>
              <a:gd name="T28" fmla="*/ 1990 w 1990"/>
              <a:gd name="T29" fmla="*/ 1005 h 1005"/>
              <a:gd name="T30" fmla="*/ 1990 w 1990"/>
              <a:gd name="T31" fmla="*/ 821 h 1005"/>
              <a:gd name="T32" fmla="*/ 1455 w 1990"/>
              <a:gd name="T33" fmla="*/ 716 h 1005"/>
              <a:gd name="T34" fmla="*/ 898 w 1990"/>
              <a:gd name="T35" fmla="*/ 580 h 10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990" h="1005">
                <a:moveTo>
                  <a:pt x="898" y="580"/>
                </a:moveTo>
                <a:cubicBezTo>
                  <a:pt x="818" y="549"/>
                  <a:pt x="750" y="513"/>
                  <a:pt x="697" y="474"/>
                </a:cubicBezTo>
                <a:cubicBezTo>
                  <a:pt x="646" y="434"/>
                  <a:pt x="610" y="394"/>
                  <a:pt x="588" y="353"/>
                </a:cubicBezTo>
                <a:cubicBezTo>
                  <a:pt x="542" y="273"/>
                  <a:pt x="537" y="187"/>
                  <a:pt x="537" y="122"/>
                </a:cubicBezTo>
                <a:cubicBezTo>
                  <a:pt x="538" y="89"/>
                  <a:pt x="539" y="62"/>
                  <a:pt x="542" y="44"/>
                </a:cubicBezTo>
                <a:cubicBezTo>
                  <a:pt x="544" y="25"/>
                  <a:pt x="545" y="15"/>
                  <a:pt x="545" y="15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1" y="16"/>
                  <a:pt x="3" y="45"/>
                </a:cubicBezTo>
                <a:cubicBezTo>
                  <a:pt x="4" y="74"/>
                  <a:pt x="9" y="119"/>
                  <a:pt x="18" y="175"/>
                </a:cubicBezTo>
                <a:cubicBezTo>
                  <a:pt x="27" y="232"/>
                  <a:pt x="43" y="302"/>
                  <a:pt x="73" y="382"/>
                </a:cubicBezTo>
                <a:cubicBezTo>
                  <a:pt x="103" y="461"/>
                  <a:pt x="151" y="551"/>
                  <a:pt x="222" y="632"/>
                </a:cubicBezTo>
                <a:cubicBezTo>
                  <a:pt x="292" y="715"/>
                  <a:pt x="386" y="785"/>
                  <a:pt x="485" y="835"/>
                </a:cubicBezTo>
                <a:cubicBezTo>
                  <a:pt x="585" y="885"/>
                  <a:pt x="691" y="917"/>
                  <a:pt x="797" y="939"/>
                </a:cubicBezTo>
                <a:cubicBezTo>
                  <a:pt x="1009" y="981"/>
                  <a:pt x="1222" y="985"/>
                  <a:pt x="1430" y="988"/>
                </a:cubicBezTo>
                <a:cubicBezTo>
                  <a:pt x="1624" y="990"/>
                  <a:pt x="1814" y="989"/>
                  <a:pt x="1990" y="1005"/>
                </a:cubicBezTo>
                <a:cubicBezTo>
                  <a:pt x="1990" y="821"/>
                  <a:pt x="1990" y="821"/>
                  <a:pt x="1990" y="821"/>
                </a:cubicBezTo>
                <a:cubicBezTo>
                  <a:pt x="1816" y="777"/>
                  <a:pt x="1633" y="748"/>
                  <a:pt x="1455" y="716"/>
                </a:cubicBezTo>
                <a:cubicBezTo>
                  <a:pt x="1254" y="681"/>
                  <a:pt x="1057" y="641"/>
                  <a:pt x="898" y="58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76" name="Freeform 11">
            <a:extLst>
              <a:ext uri="{FF2B5EF4-FFF2-40B4-BE49-F238E27FC236}">
                <a16:creationId xmlns:a16="http://schemas.microsoft.com/office/drawing/2014/main" id="{63DF755B-DA23-4414-AAF0-574DD4448A4C}"/>
              </a:ext>
            </a:extLst>
          </p:cNvPr>
          <p:cNvSpPr>
            <a:spLocks/>
          </p:cNvSpPr>
          <p:nvPr userDrawn="1"/>
        </p:nvSpPr>
        <p:spPr bwMode="auto">
          <a:xfrm>
            <a:off x="7773988" y="4675188"/>
            <a:ext cx="4419600" cy="1585913"/>
          </a:xfrm>
          <a:custGeom>
            <a:avLst/>
            <a:gdLst>
              <a:gd name="T0" fmla="*/ 1591 w 2320"/>
              <a:gd name="T1" fmla="*/ 442 h 834"/>
              <a:gd name="T2" fmla="*/ 1018 w 2320"/>
              <a:gd name="T3" fmla="*/ 454 h 834"/>
              <a:gd name="T4" fmla="*/ 797 w 2320"/>
              <a:gd name="T5" fmla="*/ 404 h 834"/>
              <a:gd name="T6" fmla="*/ 659 w 2320"/>
              <a:gd name="T7" fmla="*/ 315 h 834"/>
              <a:gd name="T8" fmla="*/ 550 w 2320"/>
              <a:gd name="T9" fmla="*/ 105 h 834"/>
              <a:gd name="T10" fmla="*/ 535 w 2320"/>
              <a:gd name="T11" fmla="*/ 28 h 834"/>
              <a:gd name="T12" fmla="*/ 530 w 2320"/>
              <a:gd name="T13" fmla="*/ 0 h 834"/>
              <a:gd name="T14" fmla="*/ 0 w 2320"/>
              <a:gd name="T15" fmla="*/ 126 h 834"/>
              <a:gd name="T16" fmla="*/ 14 w 2320"/>
              <a:gd name="T17" fmla="*/ 169 h 834"/>
              <a:gd name="T18" fmla="*/ 63 w 2320"/>
              <a:gd name="T19" fmla="*/ 291 h 834"/>
              <a:gd name="T20" fmla="*/ 170 w 2320"/>
              <a:gd name="T21" fmla="*/ 476 h 834"/>
              <a:gd name="T22" fmla="*/ 379 w 2320"/>
              <a:gd name="T23" fmla="*/ 680 h 834"/>
              <a:gd name="T24" fmla="*/ 685 w 2320"/>
              <a:gd name="T25" fmla="*/ 808 h 834"/>
              <a:gd name="T26" fmla="*/ 1013 w 2320"/>
              <a:gd name="T27" fmla="*/ 827 h 834"/>
              <a:gd name="T28" fmla="*/ 1637 w 2320"/>
              <a:gd name="T29" fmla="*/ 710 h 834"/>
              <a:gd name="T30" fmla="*/ 2217 w 2320"/>
              <a:gd name="T31" fmla="*/ 576 h 834"/>
              <a:gd name="T32" fmla="*/ 2320 w 2320"/>
              <a:gd name="T33" fmla="*/ 563 h 834"/>
              <a:gd name="T34" fmla="*/ 2320 w 2320"/>
              <a:gd name="T35" fmla="*/ 408 h 834"/>
              <a:gd name="T36" fmla="*/ 2205 w 2320"/>
              <a:gd name="T37" fmla="*/ 404 h 834"/>
              <a:gd name="T38" fmla="*/ 1591 w 2320"/>
              <a:gd name="T39" fmla="*/ 442 h 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20" h="834">
                <a:moveTo>
                  <a:pt x="1591" y="442"/>
                </a:moveTo>
                <a:cubicBezTo>
                  <a:pt x="1388" y="459"/>
                  <a:pt x="1187" y="472"/>
                  <a:pt x="1018" y="454"/>
                </a:cubicBezTo>
                <a:cubicBezTo>
                  <a:pt x="933" y="445"/>
                  <a:pt x="857" y="428"/>
                  <a:pt x="797" y="404"/>
                </a:cubicBezTo>
                <a:cubicBezTo>
                  <a:pt x="736" y="379"/>
                  <a:pt x="691" y="349"/>
                  <a:pt x="659" y="315"/>
                </a:cubicBezTo>
                <a:cubicBezTo>
                  <a:pt x="594" y="250"/>
                  <a:pt x="567" y="168"/>
                  <a:pt x="550" y="105"/>
                </a:cubicBezTo>
                <a:cubicBezTo>
                  <a:pt x="542" y="73"/>
                  <a:pt x="537" y="47"/>
                  <a:pt x="535" y="28"/>
                </a:cubicBezTo>
                <a:cubicBezTo>
                  <a:pt x="532" y="10"/>
                  <a:pt x="530" y="0"/>
                  <a:pt x="530" y="0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6"/>
                  <a:pt x="5" y="141"/>
                  <a:pt x="14" y="169"/>
                </a:cubicBezTo>
                <a:cubicBezTo>
                  <a:pt x="23" y="197"/>
                  <a:pt x="39" y="239"/>
                  <a:pt x="63" y="291"/>
                </a:cubicBezTo>
                <a:cubicBezTo>
                  <a:pt x="86" y="343"/>
                  <a:pt x="120" y="407"/>
                  <a:pt x="170" y="476"/>
                </a:cubicBezTo>
                <a:cubicBezTo>
                  <a:pt x="219" y="545"/>
                  <a:pt x="289" y="619"/>
                  <a:pt x="379" y="680"/>
                </a:cubicBezTo>
                <a:cubicBezTo>
                  <a:pt x="468" y="742"/>
                  <a:pt x="576" y="785"/>
                  <a:pt x="685" y="808"/>
                </a:cubicBezTo>
                <a:cubicBezTo>
                  <a:pt x="795" y="830"/>
                  <a:pt x="906" y="834"/>
                  <a:pt x="1013" y="827"/>
                </a:cubicBezTo>
                <a:cubicBezTo>
                  <a:pt x="1229" y="813"/>
                  <a:pt x="1436" y="762"/>
                  <a:pt x="1637" y="710"/>
                </a:cubicBezTo>
                <a:cubicBezTo>
                  <a:pt x="1838" y="659"/>
                  <a:pt x="2033" y="605"/>
                  <a:pt x="2217" y="576"/>
                </a:cubicBezTo>
                <a:cubicBezTo>
                  <a:pt x="2252" y="570"/>
                  <a:pt x="2286" y="566"/>
                  <a:pt x="2320" y="563"/>
                </a:cubicBezTo>
                <a:cubicBezTo>
                  <a:pt x="2320" y="408"/>
                  <a:pt x="2320" y="408"/>
                  <a:pt x="2320" y="408"/>
                </a:cubicBezTo>
                <a:cubicBezTo>
                  <a:pt x="2282" y="406"/>
                  <a:pt x="2243" y="404"/>
                  <a:pt x="2205" y="404"/>
                </a:cubicBezTo>
                <a:cubicBezTo>
                  <a:pt x="2004" y="402"/>
                  <a:pt x="1795" y="424"/>
                  <a:pt x="1591" y="442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2" name="Freeform 12">
            <a:extLst>
              <a:ext uri="{FF2B5EF4-FFF2-40B4-BE49-F238E27FC236}">
                <a16:creationId xmlns:a16="http://schemas.microsoft.com/office/drawing/2014/main" id="{942D0454-5983-4E85-BEB1-2D2EDEDB2145}"/>
              </a:ext>
            </a:extLst>
          </p:cNvPr>
          <p:cNvSpPr>
            <a:spLocks/>
          </p:cNvSpPr>
          <p:nvPr userDrawn="1"/>
        </p:nvSpPr>
        <p:spPr bwMode="auto">
          <a:xfrm>
            <a:off x="7539038" y="5805488"/>
            <a:ext cx="4654550" cy="1046163"/>
          </a:xfrm>
          <a:custGeom>
            <a:avLst/>
            <a:gdLst>
              <a:gd name="T0" fmla="*/ 1619 w 2443"/>
              <a:gd name="T1" fmla="*/ 240 h 550"/>
              <a:gd name="T2" fmla="*/ 1068 w 2443"/>
              <a:gd name="T3" fmla="*/ 401 h 550"/>
              <a:gd name="T4" fmla="*/ 841 w 2443"/>
              <a:gd name="T5" fmla="*/ 409 h 550"/>
              <a:gd name="T6" fmla="*/ 685 w 2443"/>
              <a:gd name="T7" fmla="*/ 359 h 550"/>
              <a:gd name="T8" fmla="*/ 526 w 2443"/>
              <a:gd name="T9" fmla="*/ 184 h 550"/>
              <a:gd name="T10" fmla="*/ 491 w 2443"/>
              <a:gd name="T11" fmla="*/ 114 h 550"/>
              <a:gd name="T12" fmla="*/ 479 w 2443"/>
              <a:gd name="T13" fmla="*/ 88 h 550"/>
              <a:gd name="T14" fmla="*/ 0 w 2443"/>
              <a:gd name="T15" fmla="*/ 347 h 550"/>
              <a:gd name="T16" fmla="*/ 25 w 2443"/>
              <a:gd name="T17" fmla="*/ 385 h 550"/>
              <a:gd name="T18" fmla="*/ 103 w 2443"/>
              <a:gd name="T19" fmla="*/ 490 h 550"/>
              <a:gd name="T20" fmla="*/ 156 w 2443"/>
              <a:gd name="T21" fmla="*/ 550 h 550"/>
              <a:gd name="T22" fmla="*/ 1621 w 2443"/>
              <a:gd name="T23" fmla="*/ 550 h 550"/>
              <a:gd name="T24" fmla="*/ 1732 w 2443"/>
              <a:gd name="T25" fmla="*/ 488 h 550"/>
              <a:gd name="T26" fmla="*/ 2258 w 2443"/>
              <a:gd name="T27" fmla="*/ 208 h 550"/>
              <a:gd name="T28" fmla="*/ 2443 w 2443"/>
              <a:gd name="T29" fmla="*/ 138 h 550"/>
              <a:gd name="T30" fmla="*/ 2443 w 2443"/>
              <a:gd name="T31" fmla="*/ 0 h 550"/>
              <a:gd name="T32" fmla="*/ 2201 w 2443"/>
              <a:gd name="T33" fmla="*/ 45 h 550"/>
              <a:gd name="T34" fmla="*/ 1619 w 2443"/>
              <a:gd name="T35" fmla="*/ 240 h 5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443" h="550">
                <a:moveTo>
                  <a:pt x="1619" y="240"/>
                </a:moveTo>
                <a:cubicBezTo>
                  <a:pt x="1427" y="310"/>
                  <a:pt x="1236" y="374"/>
                  <a:pt x="1068" y="401"/>
                </a:cubicBezTo>
                <a:cubicBezTo>
                  <a:pt x="984" y="414"/>
                  <a:pt x="906" y="417"/>
                  <a:pt x="841" y="409"/>
                </a:cubicBezTo>
                <a:cubicBezTo>
                  <a:pt x="777" y="401"/>
                  <a:pt x="725" y="383"/>
                  <a:pt x="685" y="359"/>
                </a:cubicBezTo>
                <a:cubicBezTo>
                  <a:pt x="606" y="313"/>
                  <a:pt x="559" y="241"/>
                  <a:pt x="526" y="184"/>
                </a:cubicBezTo>
                <a:cubicBezTo>
                  <a:pt x="510" y="156"/>
                  <a:pt x="498" y="132"/>
                  <a:pt x="491" y="114"/>
                </a:cubicBezTo>
                <a:cubicBezTo>
                  <a:pt x="483" y="97"/>
                  <a:pt x="479" y="88"/>
                  <a:pt x="479" y="88"/>
                </a:cubicBezTo>
                <a:cubicBezTo>
                  <a:pt x="0" y="347"/>
                  <a:pt x="0" y="347"/>
                  <a:pt x="0" y="347"/>
                </a:cubicBezTo>
                <a:cubicBezTo>
                  <a:pt x="0" y="347"/>
                  <a:pt x="8" y="361"/>
                  <a:pt x="25" y="385"/>
                </a:cubicBezTo>
                <a:cubicBezTo>
                  <a:pt x="41" y="410"/>
                  <a:pt x="67" y="446"/>
                  <a:pt x="103" y="490"/>
                </a:cubicBezTo>
                <a:cubicBezTo>
                  <a:pt x="118" y="509"/>
                  <a:pt x="136" y="529"/>
                  <a:pt x="156" y="550"/>
                </a:cubicBezTo>
                <a:cubicBezTo>
                  <a:pt x="1621" y="550"/>
                  <a:pt x="1621" y="550"/>
                  <a:pt x="1621" y="550"/>
                </a:cubicBezTo>
                <a:cubicBezTo>
                  <a:pt x="1658" y="529"/>
                  <a:pt x="1695" y="509"/>
                  <a:pt x="1732" y="488"/>
                </a:cubicBezTo>
                <a:cubicBezTo>
                  <a:pt x="1913" y="386"/>
                  <a:pt x="2088" y="284"/>
                  <a:pt x="2258" y="208"/>
                </a:cubicBezTo>
                <a:cubicBezTo>
                  <a:pt x="2320" y="180"/>
                  <a:pt x="2382" y="156"/>
                  <a:pt x="2443" y="138"/>
                </a:cubicBezTo>
                <a:cubicBezTo>
                  <a:pt x="2443" y="0"/>
                  <a:pt x="2443" y="0"/>
                  <a:pt x="2443" y="0"/>
                </a:cubicBezTo>
                <a:cubicBezTo>
                  <a:pt x="2363" y="8"/>
                  <a:pt x="2282" y="24"/>
                  <a:pt x="2201" y="45"/>
                </a:cubicBezTo>
                <a:cubicBezTo>
                  <a:pt x="2007" y="95"/>
                  <a:pt x="1811" y="171"/>
                  <a:pt x="1619" y="24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21" name="Rectangle 78" hidden="1">
            <a:extLst>
              <a:ext uri="{FF2B5EF4-FFF2-40B4-BE49-F238E27FC236}">
                <a16:creationId xmlns:a16="http://schemas.microsoft.com/office/drawing/2014/main" id="{AED2EE2D-F7F8-47E8-A07E-015389A428B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6857999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180683" y="2878452"/>
            <a:ext cx="5357061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1180683" y="1620521"/>
            <a:ext cx="5357061" cy="1257932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180682" y="4815159"/>
            <a:ext cx="1701843" cy="296271"/>
          </a:xfrm>
          <a:prstGeom prst="roundRect">
            <a:avLst>
              <a:gd name="adj" fmla="val 50000"/>
            </a:avLst>
          </a:prstGeom>
          <a:ln>
            <a:solidFill>
              <a:schemeClr val="accent2"/>
            </a:solidFill>
          </a:ln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9" name="文本占位符 13">
            <a:extLst>
              <a:ext uri="{FF2B5EF4-FFF2-40B4-BE49-F238E27FC236}">
                <a16:creationId xmlns:a16="http://schemas.microsoft.com/office/drawing/2014/main" id="{3C8531B0-2207-4E7A-96F7-E3ACFFF06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80682" y="4404497"/>
            <a:ext cx="2414521" cy="29627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Rectangle 5">
            <a:extLst>
              <a:ext uri="{FF2B5EF4-FFF2-40B4-BE49-F238E27FC236}">
                <a16:creationId xmlns:a16="http://schemas.microsoft.com/office/drawing/2014/main" id="{428A7DF7-7EDC-494D-9928-9D551DCC141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3588" cy="68516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5F4456D5-7BCB-410F-859A-C35D8F9C2688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3175"/>
            <a:ext cx="12192000" cy="685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A0D5D5A-32A4-468F-A2A9-5E33F17A7F4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4763"/>
            <a:ext cx="12193588" cy="685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DFD6C-27B1-45BB-A57C-3B43720425B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721100"/>
            <a:ext cx="12193588" cy="313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768457" y="2981325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769573" y="3889375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2" name="Freeform 7">
            <a:extLst>
              <a:ext uri="{FF2B5EF4-FFF2-40B4-BE49-F238E27FC236}">
                <a16:creationId xmlns:a16="http://schemas.microsoft.com/office/drawing/2014/main" id="{4BE64DB3-360B-4804-95D5-B19C64FAF19A}"/>
              </a:ext>
            </a:extLst>
          </p:cNvPr>
          <p:cNvSpPr>
            <a:spLocks/>
          </p:cNvSpPr>
          <p:nvPr userDrawn="1"/>
        </p:nvSpPr>
        <p:spPr bwMode="auto">
          <a:xfrm>
            <a:off x="11542713" y="665162"/>
            <a:ext cx="650875" cy="2841625"/>
          </a:xfrm>
          <a:custGeom>
            <a:avLst/>
            <a:gdLst>
              <a:gd name="T0" fmla="*/ 342 w 342"/>
              <a:gd name="T1" fmla="*/ 22 h 1493"/>
              <a:gd name="T2" fmla="*/ 321 w 342"/>
              <a:gd name="T3" fmla="*/ 0 h 1493"/>
              <a:gd name="T4" fmla="*/ 289 w 342"/>
              <a:gd name="T5" fmla="*/ 37 h 1493"/>
              <a:gd name="T6" fmla="*/ 202 w 342"/>
              <a:gd name="T7" fmla="*/ 148 h 1493"/>
              <a:gd name="T8" fmla="*/ 87 w 342"/>
              <a:gd name="T9" fmla="*/ 347 h 1493"/>
              <a:gd name="T10" fmla="*/ 10 w 342"/>
              <a:gd name="T11" fmla="*/ 651 h 1493"/>
              <a:gd name="T12" fmla="*/ 55 w 342"/>
              <a:gd name="T13" fmla="*/ 1005 h 1493"/>
              <a:gd name="T14" fmla="*/ 214 w 342"/>
              <a:gd name="T15" fmla="*/ 1320 h 1493"/>
              <a:gd name="T16" fmla="*/ 342 w 342"/>
              <a:gd name="T17" fmla="*/ 1493 h 1493"/>
              <a:gd name="T18" fmla="*/ 342 w 342"/>
              <a:gd name="T19" fmla="*/ 22 h 1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42" h="1493">
                <a:moveTo>
                  <a:pt x="342" y="22"/>
                </a:moveTo>
                <a:cubicBezTo>
                  <a:pt x="321" y="0"/>
                  <a:pt x="321" y="0"/>
                  <a:pt x="321" y="0"/>
                </a:cubicBezTo>
                <a:cubicBezTo>
                  <a:pt x="321" y="0"/>
                  <a:pt x="310" y="13"/>
                  <a:pt x="289" y="37"/>
                </a:cubicBezTo>
                <a:cubicBezTo>
                  <a:pt x="268" y="61"/>
                  <a:pt x="238" y="98"/>
                  <a:pt x="202" y="148"/>
                </a:cubicBezTo>
                <a:cubicBezTo>
                  <a:pt x="166" y="198"/>
                  <a:pt x="125" y="264"/>
                  <a:pt x="87" y="347"/>
                </a:cubicBezTo>
                <a:cubicBezTo>
                  <a:pt x="50" y="430"/>
                  <a:pt x="18" y="535"/>
                  <a:pt x="10" y="651"/>
                </a:cubicBezTo>
                <a:cubicBezTo>
                  <a:pt x="0" y="767"/>
                  <a:pt x="18" y="891"/>
                  <a:pt x="55" y="1005"/>
                </a:cubicBezTo>
                <a:cubicBezTo>
                  <a:pt x="94" y="1119"/>
                  <a:pt x="150" y="1224"/>
                  <a:pt x="214" y="1320"/>
                </a:cubicBezTo>
                <a:cubicBezTo>
                  <a:pt x="254" y="1381"/>
                  <a:pt x="297" y="1438"/>
                  <a:pt x="342" y="1493"/>
                </a:cubicBezTo>
                <a:lnTo>
                  <a:pt x="342" y="2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3" name="Freeform 8">
            <a:extLst>
              <a:ext uri="{FF2B5EF4-FFF2-40B4-BE49-F238E27FC236}">
                <a16:creationId xmlns:a16="http://schemas.microsoft.com/office/drawing/2014/main" id="{0819E824-DBCC-4AED-A2BC-3886B734C6DA}"/>
              </a:ext>
            </a:extLst>
          </p:cNvPr>
          <p:cNvSpPr>
            <a:spLocks/>
          </p:cNvSpPr>
          <p:nvPr userDrawn="1"/>
        </p:nvSpPr>
        <p:spPr bwMode="auto">
          <a:xfrm>
            <a:off x="10371138" y="1319212"/>
            <a:ext cx="1822450" cy="3065463"/>
          </a:xfrm>
          <a:custGeom>
            <a:avLst/>
            <a:gdLst>
              <a:gd name="T0" fmla="*/ 632 w 957"/>
              <a:gd name="T1" fmla="*/ 951 h 1611"/>
              <a:gd name="T2" fmla="*/ 511 w 957"/>
              <a:gd name="T3" fmla="*/ 760 h 1611"/>
              <a:gd name="T4" fmla="*/ 477 w 957"/>
              <a:gd name="T5" fmla="*/ 600 h 1611"/>
              <a:gd name="T6" fmla="*/ 549 w 957"/>
              <a:gd name="T7" fmla="*/ 374 h 1611"/>
              <a:gd name="T8" fmla="*/ 592 w 957"/>
              <a:gd name="T9" fmla="*/ 309 h 1611"/>
              <a:gd name="T10" fmla="*/ 609 w 957"/>
              <a:gd name="T11" fmla="*/ 286 h 1611"/>
              <a:gd name="T12" fmla="*/ 144 w 957"/>
              <a:gd name="T13" fmla="*/ 0 h 1611"/>
              <a:gd name="T14" fmla="*/ 124 w 957"/>
              <a:gd name="T15" fmla="*/ 41 h 1611"/>
              <a:gd name="T16" fmla="*/ 72 w 957"/>
              <a:gd name="T17" fmla="*/ 161 h 1611"/>
              <a:gd name="T18" fmla="*/ 17 w 957"/>
              <a:gd name="T19" fmla="*/ 368 h 1611"/>
              <a:gd name="T20" fmla="*/ 21 w 957"/>
              <a:gd name="T21" fmla="*/ 659 h 1611"/>
              <a:gd name="T22" fmla="*/ 147 w 957"/>
              <a:gd name="T23" fmla="*/ 966 h 1611"/>
              <a:gd name="T24" fmla="*/ 365 w 957"/>
              <a:gd name="T25" fmla="*/ 1212 h 1611"/>
              <a:gd name="T26" fmla="*/ 889 w 957"/>
              <a:gd name="T27" fmla="*/ 1571 h 1611"/>
              <a:gd name="T28" fmla="*/ 957 w 957"/>
              <a:gd name="T29" fmla="*/ 1611 h 1611"/>
              <a:gd name="T30" fmla="*/ 957 w 957"/>
              <a:gd name="T31" fmla="*/ 1272 h 1611"/>
              <a:gd name="T32" fmla="*/ 632 w 957"/>
              <a:gd name="T33" fmla="*/ 951 h 1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57" h="1611">
                <a:moveTo>
                  <a:pt x="632" y="951"/>
                </a:moveTo>
                <a:cubicBezTo>
                  <a:pt x="578" y="885"/>
                  <a:pt x="537" y="820"/>
                  <a:pt x="511" y="760"/>
                </a:cubicBezTo>
                <a:cubicBezTo>
                  <a:pt x="486" y="699"/>
                  <a:pt x="476" y="646"/>
                  <a:pt x="477" y="600"/>
                </a:cubicBezTo>
                <a:cubicBezTo>
                  <a:pt x="477" y="508"/>
                  <a:pt x="516" y="431"/>
                  <a:pt x="549" y="374"/>
                </a:cubicBezTo>
                <a:cubicBezTo>
                  <a:pt x="566" y="346"/>
                  <a:pt x="580" y="324"/>
                  <a:pt x="592" y="309"/>
                </a:cubicBezTo>
                <a:cubicBezTo>
                  <a:pt x="603" y="294"/>
                  <a:pt x="609" y="286"/>
                  <a:pt x="609" y="286"/>
                </a:cubicBez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37" y="14"/>
                  <a:pt x="124" y="41"/>
                </a:cubicBezTo>
                <a:cubicBezTo>
                  <a:pt x="111" y="67"/>
                  <a:pt x="93" y="107"/>
                  <a:pt x="72" y="161"/>
                </a:cubicBezTo>
                <a:cubicBezTo>
                  <a:pt x="52" y="215"/>
                  <a:pt x="31" y="284"/>
                  <a:pt x="17" y="368"/>
                </a:cubicBezTo>
                <a:cubicBezTo>
                  <a:pt x="3" y="451"/>
                  <a:pt x="0" y="553"/>
                  <a:pt x="21" y="659"/>
                </a:cubicBezTo>
                <a:cubicBezTo>
                  <a:pt x="40" y="766"/>
                  <a:pt x="86" y="873"/>
                  <a:pt x="147" y="966"/>
                </a:cubicBezTo>
                <a:cubicBezTo>
                  <a:pt x="209" y="1059"/>
                  <a:pt x="284" y="1141"/>
                  <a:pt x="365" y="1212"/>
                </a:cubicBezTo>
                <a:cubicBezTo>
                  <a:pt x="528" y="1354"/>
                  <a:pt x="711" y="1465"/>
                  <a:pt x="889" y="1571"/>
                </a:cubicBezTo>
                <a:cubicBezTo>
                  <a:pt x="912" y="1584"/>
                  <a:pt x="934" y="1597"/>
                  <a:pt x="957" y="1611"/>
                </a:cubicBezTo>
                <a:cubicBezTo>
                  <a:pt x="957" y="1272"/>
                  <a:pt x="957" y="1272"/>
                  <a:pt x="957" y="1272"/>
                </a:cubicBezTo>
                <a:cubicBezTo>
                  <a:pt x="834" y="1165"/>
                  <a:pt x="719" y="1058"/>
                  <a:pt x="632" y="95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4" name="Freeform 9">
            <a:extLst>
              <a:ext uri="{FF2B5EF4-FFF2-40B4-BE49-F238E27FC236}">
                <a16:creationId xmlns:a16="http://schemas.microsoft.com/office/drawing/2014/main" id="{BA02EE13-232E-4939-8175-FE00E5AC9440}"/>
              </a:ext>
            </a:extLst>
          </p:cNvPr>
          <p:cNvSpPr>
            <a:spLocks/>
          </p:cNvSpPr>
          <p:nvPr userDrawn="1"/>
        </p:nvSpPr>
        <p:spPr bwMode="auto">
          <a:xfrm>
            <a:off x="9313863" y="2249487"/>
            <a:ext cx="2879725" cy="2709863"/>
          </a:xfrm>
          <a:custGeom>
            <a:avLst/>
            <a:gdLst>
              <a:gd name="T0" fmla="*/ 753 w 1512"/>
              <a:gd name="T1" fmla="*/ 793 h 1424"/>
              <a:gd name="T2" fmla="*/ 587 w 1512"/>
              <a:gd name="T3" fmla="*/ 639 h 1424"/>
              <a:gd name="T4" fmla="*/ 512 w 1512"/>
              <a:gd name="T5" fmla="*/ 493 h 1424"/>
              <a:gd name="T6" fmla="*/ 523 w 1512"/>
              <a:gd name="T7" fmla="*/ 257 h 1424"/>
              <a:gd name="T8" fmla="*/ 548 w 1512"/>
              <a:gd name="T9" fmla="*/ 183 h 1424"/>
              <a:gd name="T10" fmla="*/ 558 w 1512"/>
              <a:gd name="T11" fmla="*/ 156 h 1424"/>
              <a:gd name="T12" fmla="*/ 36 w 1512"/>
              <a:gd name="T13" fmla="*/ 0 h 1424"/>
              <a:gd name="T14" fmla="*/ 27 w 1512"/>
              <a:gd name="T15" fmla="*/ 45 h 1424"/>
              <a:gd name="T16" fmla="*/ 8 w 1512"/>
              <a:gd name="T17" fmla="*/ 174 h 1424"/>
              <a:gd name="T18" fmla="*/ 8 w 1512"/>
              <a:gd name="T19" fmla="*/ 388 h 1424"/>
              <a:gd name="T20" fmla="*/ 87 w 1512"/>
              <a:gd name="T21" fmla="*/ 669 h 1424"/>
              <a:gd name="T22" fmla="*/ 289 w 1512"/>
              <a:gd name="T23" fmla="*/ 933 h 1424"/>
              <a:gd name="T24" fmla="*/ 563 w 1512"/>
              <a:gd name="T25" fmla="*/ 1114 h 1424"/>
              <a:gd name="T26" fmla="*/ 1162 w 1512"/>
              <a:gd name="T27" fmla="*/ 1325 h 1424"/>
              <a:gd name="T28" fmla="*/ 1512 w 1512"/>
              <a:gd name="T29" fmla="*/ 1424 h 1424"/>
              <a:gd name="T30" fmla="*/ 1512 w 1512"/>
              <a:gd name="T31" fmla="*/ 1189 h 1424"/>
              <a:gd name="T32" fmla="*/ 1256 w 1512"/>
              <a:gd name="T33" fmla="*/ 1069 h 1424"/>
              <a:gd name="T34" fmla="*/ 753 w 1512"/>
              <a:gd name="T35" fmla="*/ 793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512" h="1424">
                <a:moveTo>
                  <a:pt x="753" y="793"/>
                </a:moveTo>
                <a:cubicBezTo>
                  <a:pt x="684" y="743"/>
                  <a:pt x="628" y="690"/>
                  <a:pt x="587" y="639"/>
                </a:cubicBezTo>
                <a:cubicBezTo>
                  <a:pt x="547" y="587"/>
                  <a:pt x="523" y="539"/>
                  <a:pt x="512" y="493"/>
                </a:cubicBezTo>
                <a:cubicBezTo>
                  <a:pt x="489" y="405"/>
                  <a:pt x="506" y="320"/>
                  <a:pt x="523" y="257"/>
                </a:cubicBezTo>
                <a:cubicBezTo>
                  <a:pt x="532" y="226"/>
                  <a:pt x="541" y="200"/>
                  <a:pt x="548" y="183"/>
                </a:cubicBezTo>
                <a:cubicBezTo>
                  <a:pt x="555" y="166"/>
                  <a:pt x="558" y="156"/>
                  <a:pt x="558" y="156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3" y="16"/>
                  <a:pt x="27" y="45"/>
                </a:cubicBezTo>
                <a:cubicBezTo>
                  <a:pt x="21" y="74"/>
                  <a:pt x="14" y="117"/>
                  <a:pt x="8" y="174"/>
                </a:cubicBezTo>
                <a:cubicBezTo>
                  <a:pt x="2" y="232"/>
                  <a:pt x="0" y="304"/>
                  <a:pt x="8" y="388"/>
                </a:cubicBezTo>
                <a:cubicBezTo>
                  <a:pt x="17" y="473"/>
                  <a:pt x="40" y="572"/>
                  <a:pt x="87" y="669"/>
                </a:cubicBezTo>
                <a:cubicBezTo>
                  <a:pt x="133" y="767"/>
                  <a:pt x="205" y="858"/>
                  <a:pt x="289" y="933"/>
                </a:cubicBezTo>
                <a:cubicBezTo>
                  <a:pt x="373" y="1007"/>
                  <a:pt x="466" y="1066"/>
                  <a:pt x="563" y="1114"/>
                </a:cubicBezTo>
                <a:cubicBezTo>
                  <a:pt x="757" y="1209"/>
                  <a:pt x="962" y="1269"/>
                  <a:pt x="1162" y="1325"/>
                </a:cubicBezTo>
                <a:cubicBezTo>
                  <a:pt x="1281" y="1358"/>
                  <a:pt x="1399" y="1390"/>
                  <a:pt x="1512" y="1424"/>
                </a:cubicBezTo>
                <a:cubicBezTo>
                  <a:pt x="1512" y="1189"/>
                  <a:pt x="1512" y="1189"/>
                  <a:pt x="1512" y="1189"/>
                </a:cubicBezTo>
                <a:cubicBezTo>
                  <a:pt x="1427" y="1148"/>
                  <a:pt x="1341" y="1109"/>
                  <a:pt x="1256" y="1069"/>
                </a:cubicBezTo>
                <a:cubicBezTo>
                  <a:pt x="1072" y="983"/>
                  <a:pt x="891" y="894"/>
                  <a:pt x="753" y="79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5" name="Freeform 10">
            <a:extLst>
              <a:ext uri="{FF2B5EF4-FFF2-40B4-BE49-F238E27FC236}">
                <a16:creationId xmlns:a16="http://schemas.microsoft.com/office/drawing/2014/main" id="{0703F880-857D-4220-BCCE-44C4D772D857}"/>
              </a:ext>
            </a:extLst>
          </p:cNvPr>
          <p:cNvSpPr>
            <a:spLocks/>
          </p:cNvSpPr>
          <p:nvPr userDrawn="1"/>
        </p:nvSpPr>
        <p:spPr bwMode="auto">
          <a:xfrm>
            <a:off x="8402638" y="3478213"/>
            <a:ext cx="3790950" cy="1911350"/>
          </a:xfrm>
          <a:custGeom>
            <a:avLst/>
            <a:gdLst>
              <a:gd name="T0" fmla="*/ 898 w 1990"/>
              <a:gd name="T1" fmla="*/ 580 h 1005"/>
              <a:gd name="T2" fmla="*/ 697 w 1990"/>
              <a:gd name="T3" fmla="*/ 474 h 1005"/>
              <a:gd name="T4" fmla="*/ 588 w 1990"/>
              <a:gd name="T5" fmla="*/ 353 h 1005"/>
              <a:gd name="T6" fmla="*/ 537 w 1990"/>
              <a:gd name="T7" fmla="*/ 122 h 1005"/>
              <a:gd name="T8" fmla="*/ 542 w 1990"/>
              <a:gd name="T9" fmla="*/ 44 h 1005"/>
              <a:gd name="T10" fmla="*/ 545 w 1990"/>
              <a:gd name="T11" fmla="*/ 15 h 1005"/>
              <a:gd name="T12" fmla="*/ 0 w 1990"/>
              <a:gd name="T13" fmla="*/ 0 h 1005"/>
              <a:gd name="T14" fmla="*/ 3 w 1990"/>
              <a:gd name="T15" fmla="*/ 45 h 1005"/>
              <a:gd name="T16" fmla="*/ 18 w 1990"/>
              <a:gd name="T17" fmla="*/ 175 h 1005"/>
              <a:gd name="T18" fmla="*/ 73 w 1990"/>
              <a:gd name="T19" fmla="*/ 382 h 1005"/>
              <a:gd name="T20" fmla="*/ 222 w 1990"/>
              <a:gd name="T21" fmla="*/ 632 h 1005"/>
              <a:gd name="T22" fmla="*/ 485 w 1990"/>
              <a:gd name="T23" fmla="*/ 835 h 1005"/>
              <a:gd name="T24" fmla="*/ 797 w 1990"/>
              <a:gd name="T25" fmla="*/ 939 h 1005"/>
              <a:gd name="T26" fmla="*/ 1430 w 1990"/>
              <a:gd name="T27" fmla="*/ 988 h 1005"/>
              <a:gd name="T28" fmla="*/ 1990 w 1990"/>
              <a:gd name="T29" fmla="*/ 1005 h 1005"/>
              <a:gd name="T30" fmla="*/ 1990 w 1990"/>
              <a:gd name="T31" fmla="*/ 821 h 1005"/>
              <a:gd name="T32" fmla="*/ 1455 w 1990"/>
              <a:gd name="T33" fmla="*/ 716 h 1005"/>
              <a:gd name="T34" fmla="*/ 898 w 1990"/>
              <a:gd name="T35" fmla="*/ 580 h 10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990" h="1005">
                <a:moveTo>
                  <a:pt x="898" y="580"/>
                </a:moveTo>
                <a:cubicBezTo>
                  <a:pt x="818" y="549"/>
                  <a:pt x="750" y="513"/>
                  <a:pt x="697" y="474"/>
                </a:cubicBezTo>
                <a:cubicBezTo>
                  <a:pt x="646" y="434"/>
                  <a:pt x="610" y="394"/>
                  <a:pt x="588" y="353"/>
                </a:cubicBezTo>
                <a:cubicBezTo>
                  <a:pt x="542" y="273"/>
                  <a:pt x="537" y="187"/>
                  <a:pt x="537" y="122"/>
                </a:cubicBezTo>
                <a:cubicBezTo>
                  <a:pt x="538" y="89"/>
                  <a:pt x="539" y="62"/>
                  <a:pt x="542" y="44"/>
                </a:cubicBezTo>
                <a:cubicBezTo>
                  <a:pt x="544" y="25"/>
                  <a:pt x="545" y="15"/>
                  <a:pt x="545" y="15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1" y="16"/>
                  <a:pt x="3" y="45"/>
                </a:cubicBezTo>
                <a:cubicBezTo>
                  <a:pt x="4" y="74"/>
                  <a:pt x="9" y="119"/>
                  <a:pt x="18" y="175"/>
                </a:cubicBezTo>
                <a:cubicBezTo>
                  <a:pt x="27" y="232"/>
                  <a:pt x="43" y="302"/>
                  <a:pt x="73" y="382"/>
                </a:cubicBezTo>
                <a:cubicBezTo>
                  <a:pt x="103" y="461"/>
                  <a:pt x="151" y="551"/>
                  <a:pt x="222" y="632"/>
                </a:cubicBezTo>
                <a:cubicBezTo>
                  <a:pt x="292" y="715"/>
                  <a:pt x="386" y="785"/>
                  <a:pt x="485" y="835"/>
                </a:cubicBezTo>
                <a:cubicBezTo>
                  <a:pt x="585" y="885"/>
                  <a:pt x="691" y="917"/>
                  <a:pt x="797" y="939"/>
                </a:cubicBezTo>
                <a:cubicBezTo>
                  <a:pt x="1009" y="981"/>
                  <a:pt x="1222" y="985"/>
                  <a:pt x="1430" y="988"/>
                </a:cubicBezTo>
                <a:cubicBezTo>
                  <a:pt x="1624" y="990"/>
                  <a:pt x="1814" y="989"/>
                  <a:pt x="1990" y="1005"/>
                </a:cubicBezTo>
                <a:cubicBezTo>
                  <a:pt x="1990" y="821"/>
                  <a:pt x="1990" y="821"/>
                  <a:pt x="1990" y="821"/>
                </a:cubicBezTo>
                <a:cubicBezTo>
                  <a:pt x="1816" y="777"/>
                  <a:pt x="1633" y="748"/>
                  <a:pt x="1455" y="716"/>
                </a:cubicBezTo>
                <a:cubicBezTo>
                  <a:pt x="1254" y="681"/>
                  <a:pt x="1057" y="641"/>
                  <a:pt x="898" y="58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6" name="Freeform 11">
            <a:extLst>
              <a:ext uri="{FF2B5EF4-FFF2-40B4-BE49-F238E27FC236}">
                <a16:creationId xmlns:a16="http://schemas.microsoft.com/office/drawing/2014/main" id="{A825F1D1-AFCC-4170-912F-FEEF2D258BEE}"/>
              </a:ext>
            </a:extLst>
          </p:cNvPr>
          <p:cNvSpPr>
            <a:spLocks/>
          </p:cNvSpPr>
          <p:nvPr userDrawn="1"/>
        </p:nvSpPr>
        <p:spPr bwMode="auto">
          <a:xfrm>
            <a:off x="7773988" y="4675188"/>
            <a:ext cx="4419600" cy="1585913"/>
          </a:xfrm>
          <a:custGeom>
            <a:avLst/>
            <a:gdLst>
              <a:gd name="T0" fmla="*/ 1591 w 2320"/>
              <a:gd name="T1" fmla="*/ 442 h 834"/>
              <a:gd name="T2" fmla="*/ 1018 w 2320"/>
              <a:gd name="T3" fmla="*/ 454 h 834"/>
              <a:gd name="T4" fmla="*/ 797 w 2320"/>
              <a:gd name="T5" fmla="*/ 404 h 834"/>
              <a:gd name="T6" fmla="*/ 659 w 2320"/>
              <a:gd name="T7" fmla="*/ 315 h 834"/>
              <a:gd name="T8" fmla="*/ 550 w 2320"/>
              <a:gd name="T9" fmla="*/ 105 h 834"/>
              <a:gd name="T10" fmla="*/ 535 w 2320"/>
              <a:gd name="T11" fmla="*/ 28 h 834"/>
              <a:gd name="T12" fmla="*/ 530 w 2320"/>
              <a:gd name="T13" fmla="*/ 0 h 834"/>
              <a:gd name="T14" fmla="*/ 0 w 2320"/>
              <a:gd name="T15" fmla="*/ 126 h 834"/>
              <a:gd name="T16" fmla="*/ 14 w 2320"/>
              <a:gd name="T17" fmla="*/ 169 h 834"/>
              <a:gd name="T18" fmla="*/ 63 w 2320"/>
              <a:gd name="T19" fmla="*/ 291 h 834"/>
              <a:gd name="T20" fmla="*/ 170 w 2320"/>
              <a:gd name="T21" fmla="*/ 476 h 834"/>
              <a:gd name="T22" fmla="*/ 379 w 2320"/>
              <a:gd name="T23" fmla="*/ 680 h 834"/>
              <a:gd name="T24" fmla="*/ 685 w 2320"/>
              <a:gd name="T25" fmla="*/ 808 h 834"/>
              <a:gd name="T26" fmla="*/ 1013 w 2320"/>
              <a:gd name="T27" fmla="*/ 827 h 834"/>
              <a:gd name="T28" fmla="*/ 1637 w 2320"/>
              <a:gd name="T29" fmla="*/ 710 h 834"/>
              <a:gd name="T30" fmla="*/ 2217 w 2320"/>
              <a:gd name="T31" fmla="*/ 576 h 834"/>
              <a:gd name="T32" fmla="*/ 2320 w 2320"/>
              <a:gd name="T33" fmla="*/ 563 h 834"/>
              <a:gd name="T34" fmla="*/ 2320 w 2320"/>
              <a:gd name="T35" fmla="*/ 408 h 834"/>
              <a:gd name="T36" fmla="*/ 2205 w 2320"/>
              <a:gd name="T37" fmla="*/ 404 h 834"/>
              <a:gd name="T38" fmla="*/ 1591 w 2320"/>
              <a:gd name="T39" fmla="*/ 442 h 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20" h="834">
                <a:moveTo>
                  <a:pt x="1591" y="442"/>
                </a:moveTo>
                <a:cubicBezTo>
                  <a:pt x="1388" y="459"/>
                  <a:pt x="1187" y="472"/>
                  <a:pt x="1018" y="454"/>
                </a:cubicBezTo>
                <a:cubicBezTo>
                  <a:pt x="933" y="445"/>
                  <a:pt x="857" y="428"/>
                  <a:pt x="797" y="404"/>
                </a:cubicBezTo>
                <a:cubicBezTo>
                  <a:pt x="736" y="379"/>
                  <a:pt x="691" y="349"/>
                  <a:pt x="659" y="315"/>
                </a:cubicBezTo>
                <a:cubicBezTo>
                  <a:pt x="594" y="250"/>
                  <a:pt x="567" y="168"/>
                  <a:pt x="550" y="105"/>
                </a:cubicBezTo>
                <a:cubicBezTo>
                  <a:pt x="542" y="73"/>
                  <a:pt x="537" y="47"/>
                  <a:pt x="535" y="28"/>
                </a:cubicBezTo>
                <a:cubicBezTo>
                  <a:pt x="532" y="10"/>
                  <a:pt x="530" y="0"/>
                  <a:pt x="530" y="0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6"/>
                  <a:pt x="5" y="141"/>
                  <a:pt x="14" y="169"/>
                </a:cubicBezTo>
                <a:cubicBezTo>
                  <a:pt x="23" y="197"/>
                  <a:pt x="39" y="239"/>
                  <a:pt x="63" y="291"/>
                </a:cubicBezTo>
                <a:cubicBezTo>
                  <a:pt x="86" y="343"/>
                  <a:pt x="120" y="407"/>
                  <a:pt x="170" y="476"/>
                </a:cubicBezTo>
                <a:cubicBezTo>
                  <a:pt x="219" y="545"/>
                  <a:pt x="289" y="619"/>
                  <a:pt x="379" y="680"/>
                </a:cubicBezTo>
                <a:cubicBezTo>
                  <a:pt x="468" y="742"/>
                  <a:pt x="576" y="785"/>
                  <a:pt x="685" y="808"/>
                </a:cubicBezTo>
                <a:cubicBezTo>
                  <a:pt x="795" y="830"/>
                  <a:pt x="906" y="834"/>
                  <a:pt x="1013" y="827"/>
                </a:cubicBezTo>
                <a:cubicBezTo>
                  <a:pt x="1229" y="813"/>
                  <a:pt x="1436" y="762"/>
                  <a:pt x="1637" y="710"/>
                </a:cubicBezTo>
                <a:cubicBezTo>
                  <a:pt x="1838" y="659"/>
                  <a:pt x="2033" y="605"/>
                  <a:pt x="2217" y="576"/>
                </a:cubicBezTo>
                <a:cubicBezTo>
                  <a:pt x="2252" y="570"/>
                  <a:pt x="2286" y="566"/>
                  <a:pt x="2320" y="563"/>
                </a:cubicBezTo>
                <a:cubicBezTo>
                  <a:pt x="2320" y="408"/>
                  <a:pt x="2320" y="408"/>
                  <a:pt x="2320" y="408"/>
                </a:cubicBezTo>
                <a:cubicBezTo>
                  <a:pt x="2282" y="406"/>
                  <a:pt x="2243" y="404"/>
                  <a:pt x="2205" y="404"/>
                </a:cubicBezTo>
                <a:cubicBezTo>
                  <a:pt x="2004" y="402"/>
                  <a:pt x="1795" y="424"/>
                  <a:pt x="1591" y="44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7" name="Freeform 12">
            <a:extLst>
              <a:ext uri="{FF2B5EF4-FFF2-40B4-BE49-F238E27FC236}">
                <a16:creationId xmlns:a16="http://schemas.microsoft.com/office/drawing/2014/main" id="{DBAB8C88-00C5-45D9-848C-4555E40F2AD9}"/>
              </a:ext>
            </a:extLst>
          </p:cNvPr>
          <p:cNvSpPr>
            <a:spLocks/>
          </p:cNvSpPr>
          <p:nvPr userDrawn="1"/>
        </p:nvSpPr>
        <p:spPr bwMode="auto">
          <a:xfrm>
            <a:off x="7539038" y="5805488"/>
            <a:ext cx="4654550" cy="1046163"/>
          </a:xfrm>
          <a:custGeom>
            <a:avLst/>
            <a:gdLst>
              <a:gd name="T0" fmla="*/ 1619 w 2443"/>
              <a:gd name="T1" fmla="*/ 240 h 550"/>
              <a:gd name="T2" fmla="*/ 1068 w 2443"/>
              <a:gd name="T3" fmla="*/ 401 h 550"/>
              <a:gd name="T4" fmla="*/ 841 w 2443"/>
              <a:gd name="T5" fmla="*/ 409 h 550"/>
              <a:gd name="T6" fmla="*/ 685 w 2443"/>
              <a:gd name="T7" fmla="*/ 359 h 550"/>
              <a:gd name="T8" fmla="*/ 526 w 2443"/>
              <a:gd name="T9" fmla="*/ 184 h 550"/>
              <a:gd name="T10" fmla="*/ 491 w 2443"/>
              <a:gd name="T11" fmla="*/ 114 h 550"/>
              <a:gd name="T12" fmla="*/ 479 w 2443"/>
              <a:gd name="T13" fmla="*/ 88 h 550"/>
              <a:gd name="T14" fmla="*/ 0 w 2443"/>
              <a:gd name="T15" fmla="*/ 347 h 550"/>
              <a:gd name="T16" fmla="*/ 25 w 2443"/>
              <a:gd name="T17" fmla="*/ 385 h 550"/>
              <a:gd name="T18" fmla="*/ 103 w 2443"/>
              <a:gd name="T19" fmla="*/ 490 h 550"/>
              <a:gd name="T20" fmla="*/ 156 w 2443"/>
              <a:gd name="T21" fmla="*/ 550 h 550"/>
              <a:gd name="T22" fmla="*/ 1621 w 2443"/>
              <a:gd name="T23" fmla="*/ 550 h 550"/>
              <a:gd name="T24" fmla="*/ 1732 w 2443"/>
              <a:gd name="T25" fmla="*/ 488 h 550"/>
              <a:gd name="T26" fmla="*/ 2258 w 2443"/>
              <a:gd name="T27" fmla="*/ 208 h 550"/>
              <a:gd name="T28" fmla="*/ 2443 w 2443"/>
              <a:gd name="T29" fmla="*/ 138 h 550"/>
              <a:gd name="T30" fmla="*/ 2443 w 2443"/>
              <a:gd name="T31" fmla="*/ 0 h 550"/>
              <a:gd name="T32" fmla="*/ 2201 w 2443"/>
              <a:gd name="T33" fmla="*/ 45 h 550"/>
              <a:gd name="T34" fmla="*/ 1619 w 2443"/>
              <a:gd name="T35" fmla="*/ 240 h 5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443" h="550">
                <a:moveTo>
                  <a:pt x="1619" y="240"/>
                </a:moveTo>
                <a:cubicBezTo>
                  <a:pt x="1427" y="310"/>
                  <a:pt x="1236" y="374"/>
                  <a:pt x="1068" y="401"/>
                </a:cubicBezTo>
                <a:cubicBezTo>
                  <a:pt x="984" y="414"/>
                  <a:pt x="906" y="417"/>
                  <a:pt x="841" y="409"/>
                </a:cubicBezTo>
                <a:cubicBezTo>
                  <a:pt x="777" y="401"/>
                  <a:pt x="725" y="383"/>
                  <a:pt x="685" y="359"/>
                </a:cubicBezTo>
                <a:cubicBezTo>
                  <a:pt x="606" y="313"/>
                  <a:pt x="559" y="241"/>
                  <a:pt x="526" y="184"/>
                </a:cubicBezTo>
                <a:cubicBezTo>
                  <a:pt x="510" y="156"/>
                  <a:pt x="498" y="132"/>
                  <a:pt x="491" y="114"/>
                </a:cubicBezTo>
                <a:cubicBezTo>
                  <a:pt x="483" y="97"/>
                  <a:pt x="479" y="88"/>
                  <a:pt x="479" y="88"/>
                </a:cubicBezTo>
                <a:cubicBezTo>
                  <a:pt x="0" y="347"/>
                  <a:pt x="0" y="347"/>
                  <a:pt x="0" y="347"/>
                </a:cubicBezTo>
                <a:cubicBezTo>
                  <a:pt x="0" y="347"/>
                  <a:pt x="8" y="361"/>
                  <a:pt x="25" y="385"/>
                </a:cubicBezTo>
                <a:cubicBezTo>
                  <a:pt x="41" y="410"/>
                  <a:pt x="67" y="446"/>
                  <a:pt x="103" y="490"/>
                </a:cubicBezTo>
                <a:cubicBezTo>
                  <a:pt x="118" y="509"/>
                  <a:pt x="136" y="529"/>
                  <a:pt x="156" y="550"/>
                </a:cubicBezTo>
                <a:cubicBezTo>
                  <a:pt x="1621" y="550"/>
                  <a:pt x="1621" y="550"/>
                  <a:pt x="1621" y="550"/>
                </a:cubicBezTo>
                <a:cubicBezTo>
                  <a:pt x="1658" y="529"/>
                  <a:pt x="1695" y="509"/>
                  <a:pt x="1732" y="488"/>
                </a:cubicBezTo>
                <a:cubicBezTo>
                  <a:pt x="1913" y="386"/>
                  <a:pt x="2088" y="284"/>
                  <a:pt x="2258" y="208"/>
                </a:cubicBezTo>
                <a:cubicBezTo>
                  <a:pt x="2320" y="180"/>
                  <a:pt x="2382" y="156"/>
                  <a:pt x="2443" y="138"/>
                </a:cubicBezTo>
                <a:cubicBezTo>
                  <a:pt x="2443" y="0"/>
                  <a:pt x="2443" y="0"/>
                  <a:pt x="2443" y="0"/>
                </a:cubicBezTo>
                <a:cubicBezTo>
                  <a:pt x="2363" y="8"/>
                  <a:pt x="2282" y="24"/>
                  <a:pt x="2201" y="45"/>
                </a:cubicBezTo>
                <a:cubicBezTo>
                  <a:pt x="2007" y="95"/>
                  <a:pt x="1811" y="171"/>
                  <a:pt x="1619" y="24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-9-1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-9-11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2" name="Rectangle 5">
            <a:extLst>
              <a:ext uri="{FF2B5EF4-FFF2-40B4-BE49-F238E27FC236}">
                <a16:creationId xmlns:a16="http://schemas.microsoft.com/office/drawing/2014/main" id="{79E8040D-2580-473A-B882-38BA5C6DA771}"/>
              </a:ext>
            </a:extLst>
          </p:cNvPr>
          <p:cNvSpPr>
            <a:spLocks noChangeArrowheads="1"/>
          </p:cNvSpPr>
          <p:nvPr userDrawn="1"/>
        </p:nvSpPr>
        <p:spPr bwMode="auto">
          <a:xfrm flipH="1">
            <a:off x="0" y="0"/>
            <a:ext cx="12193588" cy="68516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53" name="Freeform 7">
            <a:extLst>
              <a:ext uri="{FF2B5EF4-FFF2-40B4-BE49-F238E27FC236}">
                <a16:creationId xmlns:a16="http://schemas.microsoft.com/office/drawing/2014/main" id="{7E5FCA46-7A49-49C2-9067-85E5A856692E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665162"/>
            <a:ext cx="650875" cy="2841625"/>
          </a:xfrm>
          <a:custGeom>
            <a:avLst/>
            <a:gdLst>
              <a:gd name="T0" fmla="*/ 342 w 342"/>
              <a:gd name="T1" fmla="*/ 22 h 1493"/>
              <a:gd name="T2" fmla="*/ 321 w 342"/>
              <a:gd name="T3" fmla="*/ 0 h 1493"/>
              <a:gd name="T4" fmla="*/ 289 w 342"/>
              <a:gd name="T5" fmla="*/ 37 h 1493"/>
              <a:gd name="T6" fmla="*/ 202 w 342"/>
              <a:gd name="T7" fmla="*/ 148 h 1493"/>
              <a:gd name="T8" fmla="*/ 87 w 342"/>
              <a:gd name="T9" fmla="*/ 347 h 1493"/>
              <a:gd name="T10" fmla="*/ 10 w 342"/>
              <a:gd name="T11" fmla="*/ 651 h 1493"/>
              <a:gd name="T12" fmla="*/ 55 w 342"/>
              <a:gd name="T13" fmla="*/ 1005 h 1493"/>
              <a:gd name="T14" fmla="*/ 214 w 342"/>
              <a:gd name="T15" fmla="*/ 1320 h 1493"/>
              <a:gd name="T16" fmla="*/ 342 w 342"/>
              <a:gd name="T17" fmla="*/ 1493 h 1493"/>
              <a:gd name="T18" fmla="*/ 342 w 342"/>
              <a:gd name="T19" fmla="*/ 22 h 1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42" h="1493">
                <a:moveTo>
                  <a:pt x="342" y="22"/>
                </a:moveTo>
                <a:cubicBezTo>
                  <a:pt x="321" y="0"/>
                  <a:pt x="321" y="0"/>
                  <a:pt x="321" y="0"/>
                </a:cubicBezTo>
                <a:cubicBezTo>
                  <a:pt x="321" y="0"/>
                  <a:pt x="310" y="13"/>
                  <a:pt x="289" y="37"/>
                </a:cubicBezTo>
                <a:cubicBezTo>
                  <a:pt x="268" y="61"/>
                  <a:pt x="238" y="98"/>
                  <a:pt x="202" y="148"/>
                </a:cubicBezTo>
                <a:cubicBezTo>
                  <a:pt x="166" y="198"/>
                  <a:pt x="125" y="264"/>
                  <a:pt x="87" y="347"/>
                </a:cubicBezTo>
                <a:cubicBezTo>
                  <a:pt x="50" y="430"/>
                  <a:pt x="18" y="535"/>
                  <a:pt x="10" y="651"/>
                </a:cubicBezTo>
                <a:cubicBezTo>
                  <a:pt x="0" y="767"/>
                  <a:pt x="18" y="891"/>
                  <a:pt x="55" y="1005"/>
                </a:cubicBezTo>
                <a:cubicBezTo>
                  <a:pt x="94" y="1119"/>
                  <a:pt x="150" y="1224"/>
                  <a:pt x="214" y="1320"/>
                </a:cubicBezTo>
                <a:cubicBezTo>
                  <a:pt x="254" y="1381"/>
                  <a:pt x="297" y="1438"/>
                  <a:pt x="342" y="1493"/>
                </a:cubicBezTo>
                <a:lnTo>
                  <a:pt x="342" y="2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54" name="Freeform 8">
            <a:extLst>
              <a:ext uri="{FF2B5EF4-FFF2-40B4-BE49-F238E27FC236}">
                <a16:creationId xmlns:a16="http://schemas.microsoft.com/office/drawing/2014/main" id="{0B9DCD8C-FE69-433C-947B-1FC29D96E610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1319212"/>
            <a:ext cx="1822450" cy="3065463"/>
          </a:xfrm>
          <a:custGeom>
            <a:avLst/>
            <a:gdLst>
              <a:gd name="T0" fmla="*/ 632 w 957"/>
              <a:gd name="T1" fmla="*/ 951 h 1611"/>
              <a:gd name="T2" fmla="*/ 511 w 957"/>
              <a:gd name="T3" fmla="*/ 760 h 1611"/>
              <a:gd name="T4" fmla="*/ 477 w 957"/>
              <a:gd name="T5" fmla="*/ 600 h 1611"/>
              <a:gd name="T6" fmla="*/ 549 w 957"/>
              <a:gd name="T7" fmla="*/ 374 h 1611"/>
              <a:gd name="T8" fmla="*/ 592 w 957"/>
              <a:gd name="T9" fmla="*/ 309 h 1611"/>
              <a:gd name="T10" fmla="*/ 609 w 957"/>
              <a:gd name="T11" fmla="*/ 286 h 1611"/>
              <a:gd name="T12" fmla="*/ 144 w 957"/>
              <a:gd name="T13" fmla="*/ 0 h 1611"/>
              <a:gd name="T14" fmla="*/ 124 w 957"/>
              <a:gd name="T15" fmla="*/ 41 h 1611"/>
              <a:gd name="T16" fmla="*/ 72 w 957"/>
              <a:gd name="T17" fmla="*/ 161 h 1611"/>
              <a:gd name="T18" fmla="*/ 17 w 957"/>
              <a:gd name="T19" fmla="*/ 368 h 1611"/>
              <a:gd name="T20" fmla="*/ 21 w 957"/>
              <a:gd name="T21" fmla="*/ 659 h 1611"/>
              <a:gd name="T22" fmla="*/ 147 w 957"/>
              <a:gd name="T23" fmla="*/ 966 h 1611"/>
              <a:gd name="T24" fmla="*/ 365 w 957"/>
              <a:gd name="T25" fmla="*/ 1212 h 1611"/>
              <a:gd name="T26" fmla="*/ 889 w 957"/>
              <a:gd name="T27" fmla="*/ 1571 h 1611"/>
              <a:gd name="T28" fmla="*/ 957 w 957"/>
              <a:gd name="T29" fmla="*/ 1611 h 1611"/>
              <a:gd name="T30" fmla="*/ 957 w 957"/>
              <a:gd name="T31" fmla="*/ 1272 h 1611"/>
              <a:gd name="T32" fmla="*/ 632 w 957"/>
              <a:gd name="T33" fmla="*/ 951 h 1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57" h="1611">
                <a:moveTo>
                  <a:pt x="632" y="951"/>
                </a:moveTo>
                <a:cubicBezTo>
                  <a:pt x="578" y="885"/>
                  <a:pt x="537" y="820"/>
                  <a:pt x="511" y="760"/>
                </a:cubicBezTo>
                <a:cubicBezTo>
                  <a:pt x="486" y="699"/>
                  <a:pt x="476" y="646"/>
                  <a:pt x="477" y="600"/>
                </a:cubicBezTo>
                <a:cubicBezTo>
                  <a:pt x="477" y="508"/>
                  <a:pt x="516" y="431"/>
                  <a:pt x="549" y="374"/>
                </a:cubicBezTo>
                <a:cubicBezTo>
                  <a:pt x="566" y="346"/>
                  <a:pt x="580" y="324"/>
                  <a:pt x="592" y="309"/>
                </a:cubicBezTo>
                <a:cubicBezTo>
                  <a:pt x="603" y="294"/>
                  <a:pt x="609" y="286"/>
                  <a:pt x="609" y="286"/>
                </a:cubicBezTo>
                <a:cubicBezTo>
                  <a:pt x="144" y="0"/>
                  <a:pt x="144" y="0"/>
                  <a:pt x="144" y="0"/>
                </a:cubicBezTo>
                <a:cubicBezTo>
                  <a:pt x="144" y="0"/>
                  <a:pt x="137" y="14"/>
                  <a:pt x="124" y="41"/>
                </a:cubicBezTo>
                <a:cubicBezTo>
                  <a:pt x="111" y="67"/>
                  <a:pt x="93" y="107"/>
                  <a:pt x="72" y="161"/>
                </a:cubicBezTo>
                <a:cubicBezTo>
                  <a:pt x="52" y="215"/>
                  <a:pt x="31" y="284"/>
                  <a:pt x="17" y="368"/>
                </a:cubicBezTo>
                <a:cubicBezTo>
                  <a:pt x="3" y="451"/>
                  <a:pt x="0" y="553"/>
                  <a:pt x="21" y="659"/>
                </a:cubicBezTo>
                <a:cubicBezTo>
                  <a:pt x="40" y="766"/>
                  <a:pt x="86" y="873"/>
                  <a:pt x="147" y="966"/>
                </a:cubicBezTo>
                <a:cubicBezTo>
                  <a:pt x="209" y="1059"/>
                  <a:pt x="284" y="1141"/>
                  <a:pt x="365" y="1212"/>
                </a:cubicBezTo>
                <a:cubicBezTo>
                  <a:pt x="528" y="1354"/>
                  <a:pt x="711" y="1465"/>
                  <a:pt x="889" y="1571"/>
                </a:cubicBezTo>
                <a:cubicBezTo>
                  <a:pt x="912" y="1584"/>
                  <a:pt x="934" y="1597"/>
                  <a:pt x="957" y="1611"/>
                </a:cubicBezTo>
                <a:cubicBezTo>
                  <a:pt x="957" y="1272"/>
                  <a:pt x="957" y="1272"/>
                  <a:pt x="957" y="1272"/>
                </a:cubicBezTo>
                <a:cubicBezTo>
                  <a:pt x="834" y="1165"/>
                  <a:pt x="719" y="1058"/>
                  <a:pt x="632" y="95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55" name="Freeform 9">
            <a:extLst>
              <a:ext uri="{FF2B5EF4-FFF2-40B4-BE49-F238E27FC236}">
                <a16:creationId xmlns:a16="http://schemas.microsoft.com/office/drawing/2014/main" id="{BC6CA018-6468-4170-8FC2-1413D07CF76C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2249487"/>
            <a:ext cx="2879725" cy="2709863"/>
          </a:xfrm>
          <a:custGeom>
            <a:avLst/>
            <a:gdLst>
              <a:gd name="T0" fmla="*/ 753 w 1512"/>
              <a:gd name="T1" fmla="*/ 793 h 1424"/>
              <a:gd name="T2" fmla="*/ 587 w 1512"/>
              <a:gd name="T3" fmla="*/ 639 h 1424"/>
              <a:gd name="T4" fmla="*/ 512 w 1512"/>
              <a:gd name="T5" fmla="*/ 493 h 1424"/>
              <a:gd name="T6" fmla="*/ 523 w 1512"/>
              <a:gd name="T7" fmla="*/ 257 h 1424"/>
              <a:gd name="T8" fmla="*/ 548 w 1512"/>
              <a:gd name="T9" fmla="*/ 183 h 1424"/>
              <a:gd name="T10" fmla="*/ 558 w 1512"/>
              <a:gd name="T11" fmla="*/ 156 h 1424"/>
              <a:gd name="T12" fmla="*/ 36 w 1512"/>
              <a:gd name="T13" fmla="*/ 0 h 1424"/>
              <a:gd name="T14" fmla="*/ 27 w 1512"/>
              <a:gd name="T15" fmla="*/ 45 h 1424"/>
              <a:gd name="T16" fmla="*/ 8 w 1512"/>
              <a:gd name="T17" fmla="*/ 174 h 1424"/>
              <a:gd name="T18" fmla="*/ 8 w 1512"/>
              <a:gd name="T19" fmla="*/ 388 h 1424"/>
              <a:gd name="T20" fmla="*/ 87 w 1512"/>
              <a:gd name="T21" fmla="*/ 669 h 1424"/>
              <a:gd name="T22" fmla="*/ 289 w 1512"/>
              <a:gd name="T23" fmla="*/ 933 h 1424"/>
              <a:gd name="T24" fmla="*/ 563 w 1512"/>
              <a:gd name="T25" fmla="*/ 1114 h 1424"/>
              <a:gd name="T26" fmla="*/ 1162 w 1512"/>
              <a:gd name="T27" fmla="*/ 1325 h 1424"/>
              <a:gd name="T28" fmla="*/ 1512 w 1512"/>
              <a:gd name="T29" fmla="*/ 1424 h 1424"/>
              <a:gd name="T30" fmla="*/ 1512 w 1512"/>
              <a:gd name="T31" fmla="*/ 1189 h 1424"/>
              <a:gd name="T32" fmla="*/ 1256 w 1512"/>
              <a:gd name="T33" fmla="*/ 1069 h 1424"/>
              <a:gd name="T34" fmla="*/ 753 w 1512"/>
              <a:gd name="T35" fmla="*/ 793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512" h="1424">
                <a:moveTo>
                  <a:pt x="753" y="793"/>
                </a:moveTo>
                <a:cubicBezTo>
                  <a:pt x="684" y="743"/>
                  <a:pt x="628" y="690"/>
                  <a:pt x="587" y="639"/>
                </a:cubicBezTo>
                <a:cubicBezTo>
                  <a:pt x="547" y="587"/>
                  <a:pt x="523" y="539"/>
                  <a:pt x="512" y="493"/>
                </a:cubicBezTo>
                <a:cubicBezTo>
                  <a:pt x="489" y="405"/>
                  <a:pt x="506" y="320"/>
                  <a:pt x="523" y="257"/>
                </a:cubicBezTo>
                <a:cubicBezTo>
                  <a:pt x="532" y="226"/>
                  <a:pt x="541" y="200"/>
                  <a:pt x="548" y="183"/>
                </a:cubicBezTo>
                <a:cubicBezTo>
                  <a:pt x="555" y="166"/>
                  <a:pt x="558" y="156"/>
                  <a:pt x="558" y="156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3" y="16"/>
                  <a:pt x="27" y="45"/>
                </a:cubicBezTo>
                <a:cubicBezTo>
                  <a:pt x="21" y="74"/>
                  <a:pt x="14" y="117"/>
                  <a:pt x="8" y="174"/>
                </a:cubicBezTo>
                <a:cubicBezTo>
                  <a:pt x="2" y="232"/>
                  <a:pt x="0" y="304"/>
                  <a:pt x="8" y="388"/>
                </a:cubicBezTo>
                <a:cubicBezTo>
                  <a:pt x="17" y="473"/>
                  <a:pt x="40" y="572"/>
                  <a:pt x="87" y="669"/>
                </a:cubicBezTo>
                <a:cubicBezTo>
                  <a:pt x="133" y="767"/>
                  <a:pt x="205" y="858"/>
                  <a:pt x="289" y="933"/>
                </a:cubicBezTo>
                <a:cubicBezTo>
                  <a:pt x="373" y="1007"/>
                  <a:pt x="466" y="1066"/>
                  <a:pt x="563" y="1114"/>
                </a:cubicBezTo>
                <a:cubicBezTo>
                  <a:pt x="757" y="1209"/>
                  <a:pt x="962" y="1269"/>
                  <a:pt x="1162" y="1325"/>
                </a:cubicBezTo>
                <a:cubicBezTo>
                  <a:pt x="1281" y="1358"/>
                  <a:pt x="1399" y="1390"/>
                  <a:pt x="1512" y="1424"/>
                </a:cubicBezTo>
                <a:cubicBezTo>
                  <a:pt x="1512" y="1189"/>
                  <a:pt x="1512" y="1189"/>
                  <a:pt x="1512" y="1189"/>
                </a:cubicBezTo>
                <a:cubicBezTo>
                  <a:pt x="1427" y="1148"/>
                  <a:pt x="1341" y="1109"/>
                  <a:pt x="1256" y="1069"/>
                </a:cubicBezTo>
                <a:cubicBezTo>
                  <a:pt x="1072" y="983"/>
                  <a:pt x="891" y="894"/>
                  <a:pt x="753" y="79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56" name="Freeform 10">
            <a:extLst>
              <a:ext uri="{FF2B5EF4-FFF2-40B4-BE49-F238E27FC236}">
                <a16:creationId xmlns:a16="http://schemas.microsoft.com/office/drawing/2014/main" id="{E2D36EF9-4BEE-4B02-834E-7F85AA162D96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3478213"/>
            <a:ext cx="3790950" cy="1911350"/>
          </a:xfrm>
          <a:custGeom>
            <a:avLst/>
            <a:gdLst>
              <a:gd name="T0" fmla="*/ 898 w 1990"/>
              <a:gd name="T1" fmla="*/ 580 h 1005"/>
              <a:gd name="T2" fmla="*/ 697 w 1990"/>
              <a:gd name="T3" fmla="*/ 474 h 1005"/>
              <a:gd name="T4" fmla="*/ 588 w 1990"/>
              <a:gd name="T5" fmla="*/ 353 h 1005"/>
              <a:gd name="T6" fmla="*/ 537 w 1990"/>
              <a:gd name="T7" fmla="*/ 122 h 1005"/>
              <a:gd name="T8" fmla="*/ 542 w 1990"/>
              <a:gd name="T9" fmla="*/ 44 h 1005"/>
              <a:gd name="T10" fmla="*/ 545 w 1990"/>
              <a:gd name="T11" fmla="*/ 15 h 1005"/>
              <a:gd name="T12" fmla="*/ 0 w 1990"/>
              <a:gd name="T13" fmla="*/ 0 h 1005"/>
              <a:gd name="T14" fmla="*/ 3 w 1990"/>
              <a:gd name="T15" fmla="*/ 45 h 1005"/>
              <a:gd name="T16" fmla="*/ 18 w 1990"/>
              <a:gd name="T17" fmla="*/ 175 h 1005"/>
              <a:gd name="T18" fmla="*/ 73 w 1990"/>
              <a:gd name="T19" fmla="*/ 382 h 1005"/>
              <a:gd name="T20" fmla="*/ 222 w 1990"/>
              <a:gd name="T21" fmla="*/ 632 h 1005"/>
              <a:gd name="T22" fmla="*/ 485 w 1990"/>
              <a:gd name="T23" fmla="*/ 835 h 1005"/>
              <a:gd name="T24" fmla="*/ 797 w 1990"/>
              <a:gd name="T25" fmla="*/ 939 h 1005"/>
              <a:gd name="T26" fmla="*/ 1430 w 1990"/>
              <a:gd name="T27" fmla="*/ 988 h 1005"/>
              <a:gd name="T28" fmla="*/ 1990 w 1990"/>
              <a:gd name="T29" fmla="*/ 1005 h 1005"/>
              <a:gd name="T30" fmla="*/ 1990 w 1990"/>
              <a:gd name="T31" fmla="*/ 821 h 1005"/>
              <a:gd name="T32" fmla="*/ 1455 w 1990"/>
              <a:gd name="T33" fmla="*/ 716 h 1005"/>
              <a:gd name="T34" fmla="*/ 898 w 1990"/>
              <a:gd name="T35" fmla="*/ 580 h 10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990" h="1005">
                <a:moveTo>
                  <a:pt x="898" y="580"/>
                </a:moveTo>
                <a:cubicBezTo>
                  <a:pt x="818" y="549"/>
                  <a:pt x="750" y="513"/>
                  <a:pt x="697" y="474"/>
                </a:cubicBezTo>
                <a:cubicBezTo>
                  <a:pt x="646" y="434"/>
                  <a:pt x="610" y="394"/>
                  <a:pt x="588" y="353"/>
                </a:cubicBezTo>
                <a:cubicBezTo>
                  <a:pt x="542" y="273"/>
                  <a:pt x="537" y="187"/>
                  <a:pt x="537" y="122"/>
                </a:cubicBezTo>
                <a:cubicBezTo>
                  <a:pt x="538" y="89"/>
                  <a:pt x="539" y="62"/>
                  <a:pt x="542" y="44"/>
                </a:cubicBezTo>
                <a:cubicBezTo>
                  <a:pt x="544" y="25"/>
                  <a:pt x="545" y="15"/>
                  <a:pt x="545" y="15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1" y="16"/>
                  <a:pt x="3" y="45"/>
                </a:cubicBezTo>
                <a:cubicBezTo>
                  <a:pt x="4" y="74"/>
                  <a:pt x="9" y="119"/>
                  <a:pt x="18" y="175"/>
                </a:cubicBezTo>
                <a:cubicBezTo>
                  <a:pt x="27" y="232"/>
                  <a:pt x="43" y="302"/>
                  <a:pt x="73" y="382"/>
                </a:cubicBezTo>
                <a:cubicBezTo>
                  <a:pt x="103" y="461"/>
                  <a:pt x="151" y="551"/>
                  <a:pt x="222" y="632"/>
                </a:cubicBezTo>
                <a:cubicBezTo>
                  <a:pt x="292" y="715"/>
                  <a:pt x="386" y="785"/>
                  <a:pt x="485" y="835"/>
                </a:cubicBezTo>
                <a:cubicBezTo>
                  <a:pt x="585" y="885"/>
                  <a:pt x="691" y="917"/>
                  <a:pt x="797" y="939"/>
                </a:cubicBezTo>
                <a:cubicBezTo>
                  <a:pt x="1009" y="981"/>
                  <a:pt x="1222" y="985"/>
                  <a:pt x="1430" y="988"/>
                </a:cubicBezTo>
                <a:cubicBezTo>
                  <a:pt x="1624" y="990"/>
                  <a:pt x="1814" y="989"/>
                  <a:pt x="1990" y="1005"/>
                </a:cubicBezTo>
                <a:cubicBezTo>
                  <a:pt x="1990" y="821"/>
                  <a:pt x="1990" y="821"/>
                  <a:pt x="1990" y="821"/>
                </a:cubicBezTo>
                <a:cubicBezTo>
                  <a:pt x="1816" y="777"/>
                  <a:pt x="1633" y="748"/>
                  <a:pt x="1455" y="716"/>
                </a:cubicBezTo>
                <a:cubicBezTo>
                  <a:pt x="1254" y="681"/>
                  <a:pt x="1057" y="641"/>
                  <a:pt x="898" y="580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57" name="Freeform 11">
            <a:extLst>
              <a:ext uri="{FF2B5EF4-FFF2-40B4-BE49-F238E27FC236}">
                <a16:creationId xmlns:a16="http://schemas.microsoft.com/office/drawing/2014/main" id="{27E00B2D-3BD8-4E47-9F22-8BE9C38F7B25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4675188"/>
            <a:ext cx="4419600" cy="1585913"/>
          </a:xfrm>
          <a:custGeom>
            <a:avLst/>
            <a:gdLst>
              <a:gd name="T0" fmla="*/ 1591 w 2320"/>
              <a:gd name="T1" fmla="*/ 442 h 834"/>
              <a:gd name="T2" fmla="*/ 1018 w 2320"/>
              <a:gd name="T3" fmla="*/ 454 h 834"/>
              <a:gd name="T4" fmla="*/ 797 w 2320"/>
              <a:gd name="T5" fmla="*/ 404 h 834"/>
              <a:gd name="T6" fmla="*/ 659 w 2320"/>
              <a:gd name="T7" fmla="*/ 315 h 834"/>
              <a:gd name="T8" fmla="*/ 550 w 2320"/>
              <a:gd name="T9" fmla="*/ 105 h 834"/>
              <a:gd name="T10" fmla="*/ 535 w 2320"/>
              <a:gd name="T11" fmla="*/ 28 h 834"/>
              <a:gd name="T12" fmla="*/ 530 w 2320"/>
              <a:gd name="T13" fmla="*/ 0 h 834"/>
              <a:gd name="T14" fmla="*/ 0 w 2320"/>
              <a:gd name="T15" fmla="*/ 126 h 834"/>
              <a:gd name="T16" fmla="*/ 14 w 2320"/>
              <a:gd name="T17" fmla="*/ 169 h 834"/>
              <a:gd name="T18" fmla="*/ 63 w 2320"/>
              <a:gd name="T19" fmla="*/ 291 h 834"/>
              <a:gd name="T20" fmla="*/ 170 w 2320"/>
              <a:gd name="T21" fmla="*/ 476 h 834"/>
              <a:gd name="T22" fmla="*/ 379 w 2320"/>
              <a:gd name="T23" fmla="*/ 680 h 834"/>
              <a:gd name="T24" fmla="*/ 685 w 2320"/>
              <a:gd name="T25" fmla="*/ 808 h 834"/>
              <a:gd name="T26" fmla="*/ 1013 w 2320"/>
              <a:gd name="T27" fmla="*/ 827 h 834"/>
              <a:gd name="T28" fmla="*/ 1637 w 2320"/>
              <a:gd name="T29" fmla="*/ 710 h 834"/>
              <a:gd name="T30" fmla="*/ 2217 w 2320"/>
              <a:gd name="T31" fmla="*/ 576 h 834"/>
              <a:gd name="T32" fmla="*/ 2320 w 2320"/>
              <a:gd name="T33" fmla="*/ 563 h 834"/>
              <a:gd name="T34" fmla="*/ 2320 w 2320"/>
              <a:gd name="T35" fmla="*/ 408 h 834"/>
              <a:gd name="T36" fmla="*/ 2205 w 2320"/>
              <a:gd name="T37" fmla="*/ 404 h 834"/>
              <a:gd name="T38" fmla="*/ 1591 w 2320"/>
              <a:gd name="T39" fmla="*/ 442 h 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20" h="834">
                <a:moveTo>
                  <a:pt x="1591" y="442"/>
                </a:moveTo>
                <a:cubicBezTo>
                  <a:pt x="1388" y="459"/>
                  <a:pt x="1187" y="472"/>
                  <a:pt x="1018" y="454"/>
                </a:cubicBezTo>
                <a:cubicBezTo>
                  <a:pt x="933" y="445"/>
                  <a:pt x="857" y="428"/>
                  <a:pt x="797" y="404"/>
                </a:cubicBezTo>
                <a:cubicBezTo>
                  <a:pt x="736" y="379"/>
                  <a:pt x="691" y="349"/>
                  <a:pt x="659" y="315"/>
                </a:cubicBezTo>
                <a:cubicBezTo>
                  <a:pt x="594" y="250"/>
                  <a:pt x="567" y="168"/>
                  <a:pt x="550" y="105"/>
                </a:cubicBezTo>
                <a:cubicBezTo>
                  <a:pt x="542" y="73"/>
                  <a:pt x="537" y="47"/>
                  <a:pt x="535" y="28"/>
                </a:cubicBezTo>
                <a:cubicBezTo>
                  <a:pt x="532" y="10"/>
                  <a:pt x="530" y="0"/>
                  <a:pt x="530" y="0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6"/>
                  <a:pt x="5" y="141"/>
                  <a:pt x="14" y="169"/>
                </a:cubicBezTo>
                <a:cubicBezTo>
                  <a:pt x="23" y="197"/>
                  <a:pt x="39" y="239"/>
                  <a:pt x="63" y="291"/>
                </a:cubicBezTo>
                <a:cubicBezTo>
                  <a:pt x="86" y="343"/>
                  <a:pt x="120" y="407"/>
                  <a:pt x="170" y="476"/>
                </a:cubicBezTo>
                <a:cubicBezTo>
                  <a:pt x="219" y="545"/>
                  <a:pt x="289" y="619"/>
                  <a:pt x="379" y="680"/>
                </a:cubicBezTo>
                <a:cubicBezTo>
                  <a:pt x="468" y="742"/>
                  <a:pt x="576" y="785"/>
                  <a:pt x="685" y="808"/>
                </a:cubicBezTo>
                <a:cubicBezTo>
                  <a:pt x="795" y="830"/>
                  <a:pt x="906" y="834"/>
                  <a:pt x="1013" y="827"/>
                </a:cubicBezTo>
                <a:cubicBezTo>
                  <a:pt x="1229" y="813"/>
                  <a:pt x="1436" y="762"/>
                  <a:pt x="1637" y="710"/>
                </a:cubicBezTo>
                <a:cubicBezTo>
                  <a:pt x="1838" y="659"/>
                  <a:pt x="2033" y="605"/>
                  <a:pt x="2217" y="576"/>
                </a:cubicBezTo>
                <a:cubicBezTo>
                  <a:pt x="2252" y="570"/>
                  <a:pt x="2286" y="566"/>
                  <a:pt x="2320" y="563"/>
                </a:cubicBezTo>
                <a:cubicBezTo>
                  <a:pt x="2320" y="408"/>
                  <a:pt x="2320" y="408"/>
                  <a:pt x="2320" y="408"/>
                </a:cubicBezTo>
                <a:cubicBezTo>
                  <a:pt x="2282" y="406"/>
                  <a:pt x="2243" y="404"/>
                  <a:pt x="2205" y="404"/>
                </a:cubicBezTo>
                <a:cubicBezTo>
                  <a:pt x="2004" y="402"/>
                  <a:pt x="1795" y="424"/>
                  <a:pt x="1591" y="442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58" name="Freeform 12">
            <a:extLst>
              <a:ext uri="{FF2B5EF4-FFF2-40B4-BE49-F238E27FC236}">
                <a16:creationId xmlns:a16="http://schemas.microsoft.com/office/drawing/2014/main" id="{1E6F0CAF-5186-4795-A1BA-5D214CFA732B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5805488"/>
            <a:ext cx="4654550" cy="1046163"/>
          </a:xfrm>
          <a:custGeom>
            <a:avLst/>
            <a:gdLst>
              <a:gd name="T0" fmla="*/ 1619 w 2443"/>
              <a:gd name="T1" fmla="*/ 240 h 550"/>
              <a:gd name="T2" fmla="*/ 1068 w 2443"/>
              <a:gd name="T3" fmla="*/ 401 h 550"/>
              <a:gd name="T4" fmla="*/ 841 w 2443"/>
              <a:gd name="T5" fmla="*/ 409 h 550"/>
              <a:gd name="T6" fmla="*/ 685 w 2443"/>
              <a:gd name="T7" fmla="*/ 359 h 550"/>
              <a:gd name="T8" fmla="*/ 526 w 2443"/>
              <a:gd name="T9" fmla="*/ 184 h 550"/>
              <a:gd name="T10" fmla="*/ 491 w 2443"/>
              <a:gd name="T11" fmla="*/ 114 h 550"/>
              <a:gd name="T12" fmla="*/ 479 w 2443"/>
              <a:gd name="T13" fmla="*/ 88 h 550"/>
              <a:gd name="T14" fmla="*/ 0 w 2443"/>
              <a:gd name="T15" fmla="*/ 347 h 550"/>
              <a:gd name="T16" fmla="*/ 25 w 2443"/>
              <a:gd name="T17" fmla="*/ 385 h 550"/>
              <a:gd name="T18" fmla="*/ 103 w 2443"/>
              <a:gd name="T19" fmla="*/ 490 h 550"/>
              <a:gd name="T20" fmla="*/ 156 w 2443"/>
              <a:gd name="T21" fmla="*/ 550 h 550"/>
              <a:gd name="T22" fmla="*/ 1621 w 2443"/>
              <a:gd name="T23" fmla="*/ 550 h 550"/>
              <a:gd name="T24" fmla="*/ 1732 w 2443"/>
              <a:gd name="T25" fmla="*/ 488 h 550"/>
              <a:gd name="T26" fmla="*/ 2258 w 2443"/>
              <a:gd name="T27" fmla="*/ 208 h 550"/>
              <a:gd name="T28" fmla="*/ 2443 w 2443"/>
              <a:gd name="T29" fmla="*/ 138 h 550"/>
              <a:gd name="T30" fmla="*/ 2443 w 2443"/>
              <a:gd name="T31" fmla="*/ 0 h 550"/>
              <a:gd name="T32" fmla="*/ 2201 w 2443"/>
              <a:gd name="T33" fmla="*/ 45 h 550"/>
              <a:gd name="T34" fmla="*/ 1619 w 2443"/>
              <a:gd name="T35" fmla="*/ 240 h 5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443" h="550">
                <a:moveTo>
                  <a:pt x="1619" y="240"/>
                </a:moveTo>
                <a:cubicBezTo>
                  <a:pt x="1427" y="310"/>
                  <a:pt x="1236" y="374"/>
                  <a:pt x="1068" y="401"/>
                </a:cubicBezTo>
                <a:cubicBezTo>
                  <a:pt x="984" y="414"/>
                  <a:pt x="906" y="417"/>
                  <a:pt x="841" y="409"/>
                </a:cubicBezTo>
                <a:cubicBezTo>
                  <a:pt x="777" y="401"/>
                  <a:pt x="725" y="383"/>
                  <a:pt x="685" y="359"/>
                </a:cubicBezTo>
                <a:cubicBezTo>
                  <a:pt x="606" y="313"/>
                  <a:pt x="559" y="241"/>
                  <a:pt x="526" y="184"/>
                </a:cubicBezTo>
                <a:cubicBezTo>
                  <a:pt x="510" y="156"/>
                  <a:pt x="498" y="132"/>
                  <a:pt x="491" y="114"/>
                </a:cubicBezTo>
                <a:cubicBezTo>
                  <a:pt x="483" y="97"/>
                  <a:pt x="479" y="88"/>
                  <a:pt x="479" y="88"/>
                </a:cubicBezTo>
                <a:cubicBezTo>
                  <a:pt x="0" y="347"/>
                  <a:pt x="0" y="347"/>
                  <a:pt x="0" y="347"/>
                </a:cubicBezTo>
                <a:cubicBezTo>
                  <a:pt x="0" y="347"/>
                  <a:pt x="8" y="361"/>
                  <a:pt x="25" y="385"/>
                </a:cubicBezTo>
                <a:cubicBezTo>
                  <a:pt x="41" y="410"/>
                  <a:pt x="67" y="446"/>
                  <a:pt x="103" y="490"/>
                </a:cubicBezTo>
                <a:cubicBezTo>
                  <a:pt x="118" y="509"/>
                  <a:pt x="136" y="529"/>
                  <a:pt x="156" y="550"/>
                </a:cubicBezTo>
                <a:cubicBezTo>
                  <a:pt x="1621" y="550"/>
                  <a:pt x="1621" y="550"/>
                  <a:pt x="1621" y="550"/>
                </a:cubicBezTo>
                <a:cubicBezTo>
                  <a:pt x="1658" y="529"/>
                  <a:pt x="1695" y="509"/>
                  <a:pt x="1732" y="488"/>
                </a:cubicBezTo>
                <a:cubicBezTo>
                  <a:pt x="1913" y="386"/>
                  <a:pt x="2088" y="284"/>
                  <a:pt x="2258" y="208"/>
                </a:cubicBezTo>
                <a:cubicBezTo>
                  <a:pt x="2320" y="180"/>
                  <a:pt x="2382" y="156"/>
                  <a:pt x="2443" y="138"/>
                </a:cubicBezTo>
                <a:cubicBezTo>
                  <a:pt x="2443" y="0"/>
                  <a:pt x="2443" y="0"/>
                  <a:pt x="2443" y="0"/>
                </a:cubicBezTo>
                <a:cubicBezTo>
                  <a:pt x="2363" y="8"/>
                  <a:pt x="2282" y="24"/>
                  <a:pt x="2201" y="45"/>
                </a:cubicBezTo>
                <a:cubicBezTo>
                  <a:pt x="2007" y="95"/>
                  <a:pt x="1811" y="171"/>
                  <a:pt x="1619" y="24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688014" y="2249487"/>
            <a:ext cx="5426076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688014" y="4626910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688015" y="4316350"/>
            <a:ext cx="542607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以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61DAA8-580E-4059-ADB7-3DE77E0C3702}" type="datetimeFigureOut">
              <a:rPr lang="zh-CN" altLang="en-US" smtClean="0"/>
              <a:t>2019-9-11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55C43C-BCF5-465E-90DF-F08C01CC1A2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9581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-9-11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0" r:id="rId7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hyperlink" Target="https://imde.arp.cn/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192.168.143.66/" TargetMode="Externa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180682" y="1791971"/>
            <a:ext cx="5357061" cy="1257932"/>
          </a:xfrm>
        </p:spPr>
        <p:txBody>
          <a:bodyPr>
            <a:normAutofit fontScale="90000"/>
          </a:bodyPr>
          <a:lstStyle/>
          <a:p>
            <a:r>
              <a:rPr lang="zh-CN" altLang="en-US" dirty="0" smtClean="0"/>
              <a:t>成都山地所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zh-CN" altLang="en-US" dirty="0" smtClean="0"/>
              <a:t>新一代</a:t>
            </a:r>
            <a:r>
              <a:rPr lang="en-US" altLang="zh-CN" dirty="0" smtClean="0"/>
              <a:t>ARP</a:t>
            </a:r>
            <a:r>
              <a:rPr lang="zh-CN" altLang="en-US" dirty="0" smtClean="0"/>
              <a:t>系统手机端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dirty="0" smtClean="0"/>
              <a:t>APP</a:t>
            </a:r>
            <a:r>
              <a:rPr lang="zh-CN" altLang="en-US" dirty="0" smtClean="0"/>
              <a:t>安装说明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 smtClean="0"/>
              <a:t>2019</a:t>
            </a:r>
            <a:r>
              <a:rPr lang="zh-CN" altLang="en-US" dirty="0" smtClean="0"/>
              <a:t>年</a:t>
            </a:r>
            <a:r>
              <a:rPr lang="en-US" altLang="zh-CN" dirty="0" smtClean="0"/>
              <a:t>9</a:t>
            </a:r>
            <a:r>
              <a:rPr lang="zh-CN" altLang="en-US" dirty="0" smtClean="0"/>
              <a:t>月</a:t>
            </a:r>
            <a:r>
              <a:rPr lang="en-US" altLang="zh-CN" dirty="0" smtClean="0"/>
              <a:t>5</a:t>
            </a:r>
            <a:r>
              <a:rPr lang="zh-CN" altLang="en-US" dirty="0" smtClean="0"/>
              <a:t>日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zh-CN" altLang="en-US" dirty="0" smtClean="0"/>
              <a:t>综合办公室</a:t>
            </a:r>
            <a:r>
              <a:rPr lang="en-US" altLang="zh-CN" dirty="0"/>
              <a:t> </a:t>
            </a:r>
            <a:r>
              <a:rPr lang="zh-CN" altLang="en-US" dirty="0" smtClean="0"/>
              <a:t>吴宇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新一代</a:t>
            </a:r>
            <a:r>
              <a:rPr lang="en-US" altLang="zh-CN" dirty="0"/>
              <a:t>ARP</a:t>
            </a:r>
            <a:r>
              <a:rPr lang="zh-CN" altLang="en-US" dirty="0"/>
              <a:t>系统手机端</a:t>
            </a:r>
            <a:r>
              <a:rPr lang="en-US" altLang="zh-CN" dirty="0"/>
              <a:t>APP</a:t>
            </a:r>
            <a:endParaRPr lang="zh-CN" altLang="en-US" dirty="0"/>
          </a:p>
        </p:txBody>
      </p:sp>
      <p:sp>
        <p:nvSpPr>
          <p:cNvPr id="8" name="矩形 7"/>
          <p:cNvSpPr/>
          <p:nvPr/>
        </p:nvSpPr>
        <p:spPr>
          <a:xfrm>
            <a:off x="871728" y="1184255"/>
            <a:ext cx="104119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>
                <a:ea typeface="仿宋" panose="02010609060101010101" pitchFamily="49" charset="-122"/>
                <a:cs typeface="Times New Roman" panose="02020603050405020304" pitchFamily="18" charset="0"/>
              </a:rPr>
              <a:t>1</a:t>
            </a:r>
            <a:r>
              <a:rPr lang="zh-CN" altLang="en-US" dirty="0" smtClean="0">
                <a:ea typeface="仿宋" panose="02010609060101010101" pitchFamily="49" charset="-122"/>
                <a:cs typeface="Times New Roman" panose="02020603050405020304" pitchFamily="18" charset="0"/>
              </a:rPr>
              <a:t>、</a:t>
            </a:r>
            <a:r>
              <a:rPr lang="zh-CN" altLang="zh-CN" dirty="0" smtClean="0">
                <a:latin typeface="+mn-ea"/>
                <a:cs typeface="Times New Roman" panose="02020603050405020304" pitchFamily="18" charset="0"/>
              </a:rPr>
              <a:t>在</a:t>
            </a:r>
            <a:r>
              <a:rPr lang="zh-CN" altLang="zh-CN" dirty="0">
                <a:latin typeface="+mn-ea"/>
                <a:cs typeface="Times New Roman" panose="02020603050405020304" pitchFamily="18" charset="0"/>
              </a:rPr>
              <a:t>系统首页</a:t>
            </a:r>
            <a:r>
              <a:rPr lang="zh-CN" altLang="zh-CN" sz="1100" u="sng" dirty="0">
                <a:latin typeface="+mn-ea"/>
                <a:cs typeface="Times New Roman" panose="02020603050405020304" pitchFamily="18" charset="0"/>
              </a:rPr>
              <a:t>（</a:t>
            </a:r>
            <a:r>
              <a:rPr lang="en-US" altLang="zh-CN" sz="1100" u="sng" dirty="0">
                <a:latin typeface="+mn-ea"/>
                <a:cs typeface="Times New Roman" panose="02020603050405020304" pitchFamily="18" charset="0"/>
                <a:hlinkClick r:id="rId2"/>
              </a:rPr>
              <a:t>https://imde.arp.cn/</a:t>
            </a:r>
            <a:r>
              <a:rPr lang="zh-CN" altLang="zh-CN" sz="1100" u="sng" dirty="0">
                <a:latin typeface="+mn-ea"/>
                <a:cs typeface="Times New Roman" panose="02020603050405020304" pitchFamily="18" charset="0"/>
              </a:rPr>
              <a:t>）</a:t>
            </a:r>
            <a:r>
              <a:rPr lang="zh-CN" altLang="zh-CN" dirty="0">
                <a:latin typeface="+mn-ea"/>
                <a:cs typeface="Times New Roman" panose="02020603050405020304" pitchFamily="18" charset="0"/>
              </a:rPr>
              <a:t>可扫码下载新一代</a:t>
            </a:r>
            <a:r>
              <a:rPr lang="en-US" altLang="zh-CN" dirty="0">
                <a:latin typeface="+mn-ea"/>
                <a:cs typeface="Times New Roman" panose="02020603050405020304" pitchFamily="18" charset="0"/>
              </a:rPr>
              <a:t>ARP</a:t>
            </a:r>
            <a:r>
              <a:rPr lang="zh-CN" altLang="zh-CN" dirty="0">
                <a:latin typeface="+mn-ea"/>
                <a:cs typeface="Times New Roman" panose="02020603050405020304" pitchFamily="18" charset="0"/>
              </a:rPr>
              <a:t>移动版，点击底部</a:t>
            </a:r>
            <a:r>
              <a:rPr lang="en-US" altLang="zh-CN" dirty="0">
                <a:latin typeface="+mn-ea"/>
                <a:cs typeface="Times New Roman" panose="02020603050405020304" pitchFamily="18" charset="0"/>
              </a:rPr>
              <a:t>IOS</a:t>
            </a:r>
            <a:r>
              <a:rPr lang="zh-CN" altLang="zh-CN" dirty="0">
                <a:latin typeface="+mn-ea"/>
                <a:cs typeface="Times New Roman" panose="02020603050405020304" pitchFamily="18" charset="0"/>
              </a:rPr>
              <a:t>版下载在浏览器打开，在浏览器中继续点击</a:t>
            </a:r>
            <a:r>
              <a:rPr lang="en-US" altLang="zh-CN" dirty="0">
                <a:latin typeface="+mn-ea"/>
                <a:cs typeface="Times New Roman" panose="02020603050405020304" pitchFamily="18" charset="0"/>
              </a:rPr>
              <a:t>IOS</a:t>
            </a:r>
            <a:r>
              <a:rPr lang="zh-CN" altLang="zh-CN" dirty="0">
                <a:latin typeface="+mn-ea"/>
                <a:cs typeface="Times New Roman" panose="02020603050405020304" pitchFamily="18" charset="0"/>
              </a:rPr>
              <a:t>下载，点击安装，点击信任开发者，并允许，信任。</a:t>
            </a:r>
            <a:endParaRPr lang="zh-CN" altLang="en-US" dirty="0">
              <a:latin typeface="+mn-ea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6155" y="2254017"/>
            <a:ext cx="2623934" cy="3572528"/>
          </a:xfrm>
          <a:prstGeom prst="rect">
            <a:avLst/>
          </a:prstGeom>
        </p:spPr>
      </p:pic>
      <p:pic>
        <p:nvPicPr>
          <p:cNvPr id="4102" name="图片 7" descr="c1123b29e84a5ceff6a046d9fa144a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2093" y="2417445"/>
            <a:ext cx="1724025" cy="305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1" name="图片 9" descr="3496097640422911af530a55a7b52fb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731829" y="2423992"/>
            <a:ext cx="1756029" cy="3050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图片 10" descr="674e8493828821ea0adeebb6d54674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9483" y="2401779"/>
            <a:ext cx="1571625" cy="3073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图片 13" descr="b30741d94bf49d6b8f6b320d65ce22c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858" y="2423992"/>
            <a:ext cx="1571625" cy="3050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图片 14" descr="c20d8079263f701107de303a7093bd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8823" y="2401778"/>
            <a:ext cx="1724025" cy="3073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7" name="图片 15" descr="db553d6e454e50ff81e06720ce6f60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363700"/>
            <a:ext cx="1638300" cy="198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0" y="351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auto">
          <a:xfrm>
            <a:off x="0" y="63722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0" y="91725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4" name="Rectangle 11"/>
          <p:cNvSpPr>
            <a:spLocks noChangeArrowheads="1"/>
          </p:cNvSpPr>
          <p:nvPr/>
        </p:nvSpPr>
        <p:spPr bwMode="auto">
          <a:xfrm>
            <a:off x="0" y="117348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Rectangle 12"/>
          <p:cNvSpPr>
            <a:spLocks noChangeArrowheads="1"/>
          </p:cNvSpPr>
          <p:nvPr/>
        </p:nvSpPr>
        <p:spPr bwMode="auto">
          <a:xfrm>
            <a:off x="0" y="143637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tangle 13"/>
          <p:cNvSpPr>
            <a:spLocks noChangeArrowheads="1"/>
          </p:cNvSpPr>
          <p:nvPr/>
        </p:nvSpPr>
        <p:spPr bwMode="auto">
          <a:xfrm>
            <a:off x="0" y="163449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06081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新一代</a:t>
            </a:r>
            <a:r>
              <a:rPr lang="en-US" altLang="zh-CN" dirty="0"/>
              <a:t>ARP</a:t>
            </a:r>
            <a:r>
              <a:rPr lang="zh-CN" altLang="en-US" dirty="0"/>
              <a:t>系统手机端</a:t>
            </a:r>
            <a:r>
              <a:rPr lang="en-US" altLang="zh-CN" dirty="0"/>
              <a:t>APP</a:t>
            </a:r>
            <a:endParaRPr lang="zh-CN" altLang="en-US" dirty="0"/>
          </a:p>
        </p:txBody>
      </p:sp>
      <p:sp>
        <p:nvSpPr>
          <p:cNvPr id="8" name="矩形 7"/>
          <p:cNvSpPr/>
          <p:nvPr/>
        </p:nvSpPr>
        <p:spPr>
          <a:xfrm>
            <a:off x="871728" y="1184255"/>
            <a:ext cx="104119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>
                <a:ea typeface="仿宋" panose="02010609060101010101" pitchFamily="49" charset="-122"/>
                <a:cs typeface="Times New Roman" panose="02020603050405020304" pitchFamily="18" charset="0"/>
              </a:rPr>
              <a:t>2</a:t>
            </a:r>
            <a:r>
              <a:rPr lang="zh-CN" altLang="en-US" dirty="0" smtClean="0">
                <a:ea typeface="仿宋" panose="02010609060101010101" pitchFamily="49" charset="-122"/>
                <a:cs typeface="Times New Roman" panose="02020603050405020304" pitchFamily="18" charset="0"/>
              </a:rPr>
              <a:t>、</a:t>
            </a:r>
            <a:r>
              <a:rPr lang="zh-CN" altLang="zh-CN" dirty="0"/>
              <a:t>使用邮箱账户密码登录新一代</a:t>
            </a:r>
            <a:r>
              <a:rPr lang="en-US" altLang="zh-CN" dirty="0"/>
              <a:t>ARP</a:t>
            </a:r>
            <a:r>
              <a:rPr lang="zh-CN" altLang="zh-CN" dirty="0"/>
              <a:t>移动版，同意</a:t>
            </a:r>
            <a:r>
              <a:rPr lang="en-US" altLang="zh-CN" dirty="0" smtClean="0"/>
              <a:t>VPN(Allow)</a:t>
            </a:r>
            <a:r>
              <a:rPr lang="zh-CN" altLang="zh-CN" dirty="0" smtClean="0"/>
              <a:t>添加</a:t>
            </a:r>
            <a:r>
              <a:rPr lang="zh-CN" altLang="zh-CN" dirty="0"/>
              <a:t>请求，进入系统开始</a:t>
            </a:r>
            <a:r>
              <a:rPr lang="zh-CN" altLang="zh-CN" dirty="0" smtClean="0"/>
              <a:t>使用</a:t>
            </a:r>
            <a:r>
              <a:rPr lang="zh-CN" altLang="en-US" dirty="0"/>
              <a:t>。</a:t>
            </a:r>
            <a:endParaRPr lang="zh-CN" altLang="en-US" dirty="0">
              <a:latin typeface="+mn-ea"/>
            </a:endParaRPr>
          </a:p>
        </p:txBody>
      </p:sp>
      <p:pic>
        <p:nvPicPr>
          <p:cNvPr id="4097" name="图片 15" descr="db553d6e454e50ff81e06720ce6f60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363700"/>
            <a:ext cx="1638300" cy="198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0" y="351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auto">
          <a:xfrm>
            <a:off x="0" y="63722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0" y="91725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4" name="Rectangle 11"/>
          <p:cNvSpPr>
            <a:spLocks noChangeArrowheads="1"/>
          </p:cNvSpPr>
          <p:nvPr/>
        </p:nvSpPr>
        <p:spPr bwMode="auto">
          <a:xfrm>
            <a:off x="0" y="117348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Rectangle 12"/>
          <p:cNvSpPr>
            <a:spLocks noChangeArrowheads="1"/>
          </p:cNvSpPr>
          <p:nvPr/>
        </p:nvSpPr>
        <p:spPr bwMode="auto">
          <a:xfrm>
            <a:off x="0" y="143637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tangle 13"/>
          <p:cNvSpPr>
            <a:spLocks noChangeArrowheads="1"/>
          </p:cNvSpPr>
          <p:nvPr/>
        </p:nvSpPr>
        <p:spPr bwMode="auto">
          <a:xfrm>
            <a:off x="0" y="163449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5123" name="图片 16" descr="7d22b7afeff54458b8078ffa816647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1696" y="1709142"/>
            <a:ext cx="1841754" cy="3314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图片 17" descr="a31dc2760c6d1a7b2acd2202b5c737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3450" y="1723049"/>
            <a:ext cx="1762125" cy="3314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1" name="图片 18" descr="f39360fa11957dee5835b0f11c6f21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05575" y="1723049"/>
            <a:ext cx="1600200" cy="3314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417320" y="-647699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1417320" y="975360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23" name="矩形 22"/>
          <p:cNvSpPr/>
          <p:nvPr/>
        </p:nvSpPr>
        <p:spPr>
          <a:xfrm>
            <a:off x="1624203" y="5422975"/>
            <a:ext cx="104119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latin typeface="+mn-ea"/>
              </a:rPr>
              <a:t>注意：第一次登录后会提示录入手势密码，后续使用后将直接通过手势密码登录。</a:t>
            </a:r>
            <a:endParaRPr lang="zh-CN" altLang="en-US" dirty="0">
              <a:latin typeface="+mn-ea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960120" y="5945743"/>
            <a:ext cx="104119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>
                <a:ea typeface="仿宋" panose="02010609060101010101" pitchFamily="49" charset="-122"/>
                <a:cs typeface="Times New Roman" panose="02020603050405020304" pitchFamily="18" charset="0"/>
              </a:rPr>
              <a:t>3</a:t>
            </a:r>
            <a:r>
              <a:rPr lang="zh-CN" altLang="en-US" dirty="0" smtClean="0">
                <a:ea typeface="仿宋" panose="02010609060101010101" pitchFamily="49" charset="-122"/>
                <a:cs typeface="Times New Roman" panose="02020603050405020304" pitchFamily="18" charset="0"/>
              </a:rPr>
              <a:t>、</a:t>
            </a:r>
            <a:r>
              <a:rPr lang="zh-CN" altLang="zh-CN" dirty="0"/>
              <a:t>安卓手机下载、安装、使用新一代</a:t>
            </a:r>
            <a:r>
              <a:rPr lang="en-US" altLang="zh-CN" dirty="0"/>
              <a:t>ARP</a:t>
            </a:r>
            <a:r>
              <a:rPr lang="zh-CN" altLang="zh-CN" dirty="0"/>
              <a:t>移动版与</a:t>
            </a:r>
            <a:r>
              <a:rPr lang="en-US" altLang="zh-CN" dirty="0"/>
              <a:t>iPhone</a:t>
            </a:r>
            <a:r>
              <a:rPr lang="zh-CN" altLang="zh-CN" dirty="0"/>
              <a:t>手机基本一致，这里不再赘述。</a:t>
            </a:r>
          </a:p>
        </p:txBody>
      </p:sp>
    </p:spTree>
    <p:extLst>
      <p:ext uri="{BB962C8B-B14F-4D97-AF65-F5344CB8AC3E}">
        <p14:creationId xmlns:p14="http://schemas.microsoft.com/office/powerpoint/2010/main" val="454551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其他相关事项</a:t>
            </a:r>
            <a:endParaRPr lang="zh-CN" altLang="en-US" dirty="0"/>
          </a:p>
        </p:txBody>
      </p:sp>
      <p:sp>
        <p:nvSpPr>
          <p:cNvPr id="8" name="矩形 7"/>
          <p:cNvSpPr/>
          <p:nvPr/>
        </p:nvSpPr>
        <p:spPr>
          <a:xfrm>
            <a:off x="871728" y="1184255"/>
            <a:ext cx="104119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>
                <a:ea typeface="仿宋" panose="02010609060101010101" pitchFamily="49" charset="-122"/>
                <a:cs typeface="Times New Roman" panose="02020603050405020304" pitchFamily="18" charset="0"/>
              </a:rPr>
              <a:t>1</a:t>
            </a:r>
            <a:r>
              <a:rPr lang="zh-CN" altLang="en-US" dirty="0" smtClean="0">
                <a:ea typeface="仿宋" panose="02010609060101010101" pitchFamily="49" charset="-122"/>
                <a:cs typeface="Times New Roman" panose="02020603050405020304" pitchFamily="18" charset="0"/>
              </a:rPr>
              <a:t>、</a:t>
            </a:r>
            <a:r>
              <a:rPr lang="zh-CN" altLang="en-US" dirty="0" smtClean="0">
                <a:latin typeface="+mn-ea"/>
                <a:cs typeface="Times New Roman" panose="02020603050405020304" pitchFamily="18" charset="0"/>
              </a:rPr>
              <a:t>所内部网站，新一代</a:t>
            </a:r>
            <a:r>
              <a:rPr lang="en-US" altLang="zh-CN" dirty="0" smtClean="0">
                <a:latin typeface="+mn-ea"/>
                <a:cs typeface="Times New Roman" panose="02020603050405020304" pitchFamily="18" charset="0"/>
              </a:rPr>
              <a:t>ARP</a:t>
            </a:r>
            <a:r>
              <a:rPr lang="zh-CN" altLang="en-US" dirty="0" smtClean="0">
                <a:latin typeface="+mn-ea"/>
                <a:cs typeface="Times New Roman" panose="02020603050405020304" pitchFamily="18" charset="0"/>
              </a:rPr>
              <a:t>系统专栏中有各业务模块的视频操作教程，其中总计有</a:t>
            </a:r>
            <a:r>
              <a:rPr lang="en-US" altLang="zh-CN" dirty="0" smtClean="0">
                <a:latin typeface="+mn-ea"/>
                <a:cs typeface="Times New Roman" panose="02020603050405020304" pitchFamily="18" charset="0"/>
              </a:rPr>
              <a:t>200</a:t>
            </a:r>
            <a:r>
              <a:rPr lang="zh-CN" altLang="en-US" dirty="0" smtClean="0">
                <a:latin typeface="+mn-ea"/>
                <a:cs typeface="Times New Roman" panose="02020603050405020304" pitchFamily="18" charset="0"/>
              </a:rPr>
              <a:t>多个小视频，详细记录了各种操作的详细步骤。</a:t>
            </a:r>
            <a:endParaRPr lang="zh-CN" altLang="en-US" dirty="0">
              <a:latin typeface="+mn-ea"/>
            </a:endParaRPr>
          </a:p>
        </p:txBody>
      </p:sp>
      <p:pic>
        <p:nvPicPr>
          <p:cNvPr id="4097" name="图片 15" descr="db553d6e454e50ff81e06720ce6f60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363700"/>
            <a:ext cx="1638300" cy="198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0" y="351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auto">
          <a:xfrm>
            <a:off x="0" y="63722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0" y="91725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sp>
        <p:nvSpPr>
          <p:cNvPr id="14" name="Rectangle 11"/>
          <p:cNvSpPr>
            <a:spLocks noChangeArrowheads="1"/>
          </p:cNvSpPr>
          <p:nvPr/>
        </p:nvSpPr>
        <p:spPr bwMode="auto">
          <a:xfrm>
            <a:off x="0" y="117348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Rectangle 12"/>
          <p:cNvSpPr>
            <a:spLocks noChangeArrowheads="1"/>
          </p:cNvSpPr>
          <p:nvPr/>
        </p:nvSpPr>
        <p:spPr bwMode="auto">
          <a:xfrm>
            <a:off x="0" y="143637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altLang="zh-CN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tangle 13"/>
          <p:cNvSpPr>
            <a:spLocks noChangeArrowheads="1"/>
          </p:cNvSpPr>
          <p:nvPr/>
        </p:nvSpPr>
        <p:spPr bwMode="auto">
          <a:xfrm>
            <a:off x="0" y="163449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0794" y="2303094"/>
            <a:ext cx="2342857" cy="847619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1900" y="1609983"/>
            <a:ext cx="3380772" cy="2099231"/>
          </a:xfrm>
          <a:prstGeom prst="rect">
            <a:avLst/>
          </a:prstGeom>
        </p:spPr>
      </p:pic>
      <p:sp>
        <p:nvSpPr>
          <p:cNvPr id="20" name="矩形 19"/>
          <p:cNvSpPr/>
          <p:nvPr/>
        </p:nvSpPr>
        <p:spPr>
          <a:xfrm>
            <a:off x="871728" y="3880000"/>
            <a:ext cx="104119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>
                <a:ea typeface="仿宋" panose="02010609060101010101" pitchFamily="49" charset="-122"/>
                <a:cs typeface="Times New Roman" panose="02020603050405020304" pitchFamily="18" charset="0"/>
              </a:rPr>
              <a:t>2</a:t>
            </a:r>
            <a:r>
              <a:rPr lang="zh-CN" altLang="en-US" dirty="0" smtClean="0">
                <a:ea typeface="仿宋" panose="02010609060101010101" pitchFamily="49" charset="-122"/>
                <a:cs typeface="Times New Roman" panose="02020603050405020304" pitchFamily="18" charset="0"/>
              </a:rPr>
              <a:t>、</a:t>
            </a:r>
            <a:r>
              <a:rPr lang="zh-CN" altLang="en-US" dirty="0" smtClean="0">
                <a:latin typeface="+mn-ea"/>
                <a:cs typeface="Times New Roman" panose="02020603050405020304" pitchFamily="18" charset="0"/>
              </a:rPr>
              <a:t>还是在所内部网站，提供常用的文字版的说明文档和常用工具。如果在安装</a:t>
            </a:r>
            <a:r>
              <a:rPr lang="en-US" altLang="zh-CN" dirty="0" smtClean="0">
                <a:latin typeface="+mn-ea"/>
                <a:cs typeface="Times New Roman" panose="02020603050405020304" pitchFamily="18" charset="0"/>
              </a:rPr>
              <a:t>ARP</a:t>
            </a:r>
            <a:r>
              <a:rPr lang="zh-CN" altLang="en-US" dirty="0" smtClean="0">
                <a:latin typeface="+mn-ea"/>
                <a:cs typeface="Times New Roman" panose="02020603050405020304" pitchFamily="18" charset="0"/>
              </a:rPr>
              <a:t>专用客户端，出现这个提示，需要升级</a:t>
            </a:r>
            <a:r>
              <a:rPr lang="en-US" altLang="zh-CN" dirty="0" smtClean="0">
                <a:latin typeface="+mn-ea"/>
                <a:cs typeface="Times New Roman" panose="02020603050405020304" pitchFamily="18" charset="0"/>
              </a:rPr>
              <a:t>IE</a:t>
            </a:r>
            <a:r>
              <a:rPr lang="zh-CN" altLang="en-US" dirty="0" smtClean="0">
                <a:latin typeface="+mn-ea"/>
                <a:cs typeface="Times New Roman" panose="02020603050405020304" pitchFamily="18" charset="0"/>
              </a:rPr>
              <a:t>版本到</a:t>
            </a:r>
            <a:r>
              <a:rPr lang="en-US" altLang="zh-CN" dirty="0" smtClean="0">
                <a:latin typeface="+mn-ea"/>
                <a:cs typeface="Times New Roman" panose="02020603050405020304" pitchFamily="18" charset="0"/>
              </a:rPr>
              <a:t>IE 11</a:t>
            </a:r>
            <a:r>
              <a:rPr lang="zh-CN" altLang="en-US" dirty="0" smtClean="0">
                <a:latin typeface="+mn-ea"/>
                <a:cs typeface="Times New Roman" panose="02020603050405020304" pitchFamily="18" charset="0"/>
              </a:rPr>
              <a:t>。</a:t>
            </a:r>
            <a:endParaRPr lang="zh-CN" altLang="en-US" dirty="0">
              <a:latin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33313" y="4991327"/>
            <a:ext cx="7895238" cy="1809524"/>
          </a:xfrm>
          <a:prstGeom prst="rect">
            <a:avLst/>
          </a:prstGeom>
        </p:spPr>
      </p:pic>
      <p:pic>
        <p:nvPicPr>
          <p:cNvPr id="22" name="图片 21"/>
          <p:cNvPicPr/>
          <p:nvPr/>
        </p:nvPicPr>
        <p:blipFill>
          <a:blip r:embed="rId6"/>
          <a:stretch>
            <a:fillRect/>
          </a:stretch>
        </p:blipFill>
        <p:spPr>
          <a:xfrm>
            <a:off x="4120292" y="4530988"/>
            <a:ext cx="3121279" cy="1227358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98769" y="1505328"/>
            <a:ext cx="3548830" cy="2258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868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1219200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1352936" y="179712"/>
            <a:ext cx="900759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成都山地所新一代</a:t>
            </a:r>
            <a:r>
              <a:rPr lang="en-US" altLang="zh-CN" sz="3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ARP</a:t>
            </a:r>
            <a:r>
              <a:rPr lang="zh-CN" altLang="en-US" sz="3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系统核心团队成员联系方式</a:t>
            </a:r>
            <a:endParaRPr lang="zh-CN" altLang="en-US" sz="3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cxnSp>
        <p:nvCxnSpPr>
          <p:cNvPr id="7" name="直接连接符 6"/>
          <p:cNvCxnSpPr/>
          <p:nvPr/>
        </p:nvCxnSpPr>
        <p:spPr>
          <a:xfrm flipH="1">
            <a:off x="3209731" y="1190645"/>
            <a:ext cx="27991" cy="4724963"/>
          </a:xfrm>
          <a:prstGeom prst="line">
            <a:avLst/>
          </a:prstGeom>
          <a:ln w="762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8510" y="1265183"/>
            <a:ext cx="780952" cy="8000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03084" y="3683602"/>
            <a:ext cx="790476" cy="809524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87155" y="1190645"/>
            <a:ext cx="819048" cy="857143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4219524" y="1347479"/>
            <a:ext cx="718625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科研项目：马雅阁，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QQ:370003497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ygma@imde.ac.cn</a:t>
            </a:r>
          </a:p>
          <a:p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际合作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刘安妮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QQ:1146857327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liuanni@imde.ac.cn</a:t>
            </a:r>
          </a:p>
          <a:p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综合财务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李   娟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QQ:632130063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lijuan@imde.ac.cn</a:t>
            </a:r>
          </a:p>
          <a:p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事薪酬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陈   浪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QQ:25970589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l@imde.ac.cn</a:t>
            </a:r>
          </a:p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郑   捷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QQ:27238409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jiezheng@imde.ac.cn</a:t>
            </a:r>
          </a:p>
          <a:p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科研条件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肖健刚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QQ:393037418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jiangangxiao@imde.ac.cn</a:t>
            </a:r>
          </a:p>
          <a:p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（固定资产）  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陆冬梅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QQ:278480422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dmlu@imde.ac.cn</a:t>
            </a:r>
          </a:p>
          <a:p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电子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公文：张文婷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QQ:474341006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zhangwenting@imde.ac.cn</a:t>
            </a:r>
          </a:p>
          <a:p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系统运维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吴   宇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QQ:3996165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wuyu@imde.ac.cn</a:t>
            </a:r>
          </a:p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何   斌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QQ:646413984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hebin@imde.ac.cn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2853311" y="5987335"/>
            <a:ext cx="7104505" cy="707886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协  调 人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吴 宇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3880600585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wuyu@imde.ac.cn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总负责人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代 丹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3388161816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d@imde.ac.cn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301009" y="2098482"/>
            <a:ext cx="255230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  <a:hlinkClick r:id="rId6"/>
              </a:rPr>
              <a:t>http://192.168.143.66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所内网新一代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RP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系统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操作视频培训教程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28411" y="3743565"/>
            <a:ext cx="230864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支持</a:t>
            </a:r>
            <a:r>
              <a:rPr lang="en-US" altLang="zh-CN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Q</a:t>
            </a:r>
            <a:r>
              <a:rPr lang="zh-CN" altLang="en-US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群</a:t>
            </a:r>
            <a:endParaRPr lang="en-US" altLang="zh-CN" b="1" dirty="0" smtClean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Q</a:t>
            </a:r>
            <a:r>
              <a:rPr lang="zh-CN" altLang="en-US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群：</a:t>
            </a:r>
            <a:r>
              <a:rPr lang="en-US" altLang="zh-CN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79480455</a:t>
            </a:r>
            <a:endParaRPr lang="zh-CN" altLang="en-US" b="1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1088988" y="1626645"/>
            <a:ext cx="17235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维服务</a:t>
            </a:r>
            <a:r>
              <a:rPr lang="zh-CN" altLang="en-US" sz="20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站</a:t>
            </a:r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6436" y="4491090"/>
            <a:ext cx="1642509" cy="2086788"/>
          </a:xfrm>
          <a:prstGeom prst="rect">
            <a:avLst/>
          </a:prstGeom>
        </p:spPr>
      </p:pic>
      <p:pic>
        <p:nvPicPr>
          <p:cNvPr id="25" name="图片 2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" y="-7821"/>
            <a:ext cx="916716" cy="922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441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8188474f-0cf5-448e-935b-019f0bc590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07371"/>
      </a:accent1>
      <a:accent2>
        <a:srgbClr val="008C82"/>
      </a:accent2>
      <a:accent3>
        <a:srgbClr val="00A8A1"/>
      </a:accent3>
      <a:accent4>
        <a:srgbClr val="3EBFBB"/>
      </a:accent4>
      <a:accent5>
        <a:srgbClr val="5F5F5F"/>
      </a:accent5>
      <a:accent6>
        <a:srgbClr val="525252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07371"/>
    </a:accent1>
    <a:accent2>
      <a:srgbClr val="008C82"/>
    </a:accent2>
    <a:accent3>
      <a:srgbClr val="00A8A1"/>
    </a:accent3>
    <a:accent4>
      <a:srgbClr val="3EBFBB"/>
    </a:accent4>
    <a:accent5>
      <a:srgbClr val="5F5F5F"/>
    </a:accent5>
    <a:accent6>
      <a:srgbClr val="525252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68</TotalTime>
  <Words>380</Words>
  <Application>Microsoft Office PowerPoint</Application>
  <PresentationFormat>宽屏</PresentationFormat>
  <Paragraphs>50</Paragraphs>
  <Slides>5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14" baseType="lpstr">
      <vt:lpstr>仿宋</vt:lpstr>
      <vt:lpstr>黑体</vt:lpstr>
      <vt:lpstr>宋体</vt:lpstr>
      <vt:lpstr>微软雅黑</vt:lpstr>
      <vt:lpstr>Arial</vt:lpstr>
      <vt:lpstr>Calibri</vt:lpstr>
      <vt:lpstr>Times New Roman</vt:lpstr>
      <vt:lpstr>主题5</vt:lpstr>
      <vt:lpstr>think-cell Slide</vt:lpstr>
      <vt:lpstr>成都山地所 新一代ARP系统手机端 APP安装说明</vt:lpstr>
      <vt:lpstr>新一代ARP系统手机端APP</vt:lpstr>
      <vt:lpstr>新一代ARP系统手机端APP</vt:lpstr>
      <vt:lpstr>其他相关事项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吴宇</cp:lastModifiedBy>
  <cp:revision>36</cp:revision>
  <cp:lastPrinted>2018-06-13T16:00:00Z</cp:lastPrinted>
  <dcterms:created xsi:type="dcterms:W3CDTF">2018-06-13T16:00:00Z</dcterms:created>
  <dcterms:modified xsi:type="dcterms:W3CDTF">2019-09-11T02:57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